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6"/>
  </p:notesMasterIdLst>
  <p:handoutMasterIdLst>
    <p:handoutMasterId r:id="rId27"/>
  </p:handoutMasterIdLst>
  <p:sldIdLst>
    <p:sldId id="300" r:id="rId2"/>
    <p:sldId id="297" r:id="rId3"/>
    <p:sldId id="298" r:id="rId4"/>
    <p:sldId id="299" r:id="rId5"/>
    <p:sldId id="301" r:id="rId6"/>
    <p:sldId id="302" r:id="rId7"/>
    <p:sldId id="303" r:id="rId8"/>
    <p:sldId id="304" r:id="rId9"/>
    <p:sldId id="305" r:id="rId10"/>
    <p:sldId id="306" r:id="rId11"/>
    <p:sldId id="307" r:id="rId12"/>
    <p:sldId id="308" r:id="rId13"/>
    <p:sldId id="309" r:id="rId14"/>
    <p:sldId id="310" r:id="rId15"/>
    <p:sldId id="311" r:id="rId16"/>
    <p:sldId id="312" r:id="rId17"/>
    <p:sldId id="313" r:id="rId18"/>
    <p:sldId id="314" r:id="rId19"/>
    <p:sldId id="315" r:id="rId20"/>
    <p:sldId id="316" r:id="rId21"/>
    <p:sldId id="317" r:id="rId22"/>
    <p:sldId id="318" r:id="rId23"/>
    <p:sldId id="319" r:id="rId24"/>
    <p:sldId id="320" r:id="rId25"/>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2902">
          <p15:clr>
            <a:srgbClr val="A4A3A4"/>
          </p15:clr>
        </p15:guide>
      </p15:sldGuideLst>
    </p:ext>
    <p:ext uri="{2D200454-40CA-4A62-9FC3-DE9A4176ACB9}">
      <p15:notesGuideLst xmlns:p15="http://schemas.microsoft.com/office/powerpoint/2012/main">
        <p15:guide id="1" orient="horz" pos="2880">
          <p15:clr>
            <a:srgbClr val="A4A3A4"/>
          </p15:clr>
        </p15:guide>
        <p15:guide id="2" pos="21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0000"/>
    <a:srgbClr val="990033"/>
    <a:srgbClr val="009900"/>
    <a:srgbClr val="00CC99"/>
    <a:srgbClr val="009999"/>
    <a:srgbClr val="00FF99"/>
    <a:srgbClr val="A4D76B"/>
    <a:srgbClr val="CCFF99"/>
    <a:srgbClr val="339933"/>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1704" y="108"/>
      </p:cViewPr>
      <p:guideLst>
        <p:guide orient="horz" pos="2160"/>
        <p:guide pos="2902"/>
      </p:guideLst>
    </p:cSldViewPr>
  </p:slideViewPr>
  <p:notesTextViewPr>
    <p:cViewPr>
      <p:scale>
        <a:sx n="100" d="100"/>
        <a:sy n="100" d="100"/>
      </p:scale>
      <p:origin x="0" y="0"/>
    </p:cViewPr>
  </p:notesTextViewPr>
  <p:notesViewPr>
    <p:cSldViewPr>
      <p:cViewPr varScale="1">
        <p:scale>
          <a:sx n="55" d="100"/>
          <a:sy n="55" d="100"/>
        </p:scale>
        <p:origin x="-2466" y="-84"/>
      </p:cViewPr>
      <p:guideLst>
        <p:guide orient="horz" pos="2880"/>
        <p:guide pos="217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EB737E7-FBC1-4B99-AC87-45E019C14EFC}" type="datetimeFigureOut">
              <a:rPr lang="zh-CN" altLang="en-US" smtClean="0"/>
              <a:t>2017/11/5</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B4EE854-2BCA-46E8-AC9D-7A6B286A4925}" type="slidenum">
              <a:rPr lang="zh-CN" altLang="en-US" smtClean="0"/>
              <a:t>‹#›</a:t>
            </a:fld>
            <a:endParaRPr lang="zh-CN" altLang="en-US"/>
          </a:p>
        </p:txBody>
      </p:sp>
    </p:spTree>
    <p:extLst>
      <p:ext uri="{BB962C8B-B14F-4D97-AF65-F5344CB8AC3E}">
        <p14:creationId xmlns:p14="http://schemas.microsoft.com/office/powerpoint/2010/main" val="326401373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2767" units="in"/>
          <inkml:channel name="Y" type="integer" max="32767" units="in"/>
          <inkml:channel name="F" type="integer" max="2047" units="in"/>
          <inkml:channel name="T" type="integer" max="2.14748E9" units="dev"/>
        </inkml:traceFormat>
        <inkml:channelProperties>
          <inkml:channelProperty channel="X" name="resolution" value="15999.51074" units="1/in"/>
          <inkml:channelProperty channel="Y" name="resolution" value="15999.51074" units="1/in"/>
          <inkml:channelProperty channel="F" name="resolution" value="999.51166" units="1/in"/>
          <inkml:channelProperty channel="T" name="resolution" value="1" units="1/dev"/>
        </inkml:channelProperties>
      </inkml:inkSource>
      <inkml:timestamp xml:id="ts0" timeString="2017-10-28T06:54:18.751"/>
    </inkml:context>
    <inkml:brush xml:id="br0">
      <inkml:brushProperty name="width" value="0.05292" units="cm"/>
      <inkml:brushProperty name="height" value="0.05292" units="cm"/>
      <inkml:brushProperty name="color" value="#FF0000"/>
    </inkml:brush>
    <inkml:context xml:id="ctx1">
      <inkml:inkSource xml:id="inkSrc62">
        <inkml:traceFormat>
          <inkml:channel name="X" type="integer" max="1920" units="cm"/>
          <inkml:channel name="Y" type="integer" max="1080" units="cm"/>
          <inkml:channel name="T" type="integer" max="2.14748E9" units="dev"/>
        </inkml:traceFormat>
        <inkml:channelProperties>
          <inkml:channelProperty channel="X" name="resolution" value="28.36041" units="1/cm"/>
          <inkml:channelProperty channel="Y" name="resolution" value="28.34646" units="1/cm"/>
          <inkml:channelProperty channel="T" name="resolution" value="1" units="1/dev"/>
        </inkml:channelProperties>
      </inkml:inkSource>
      <inkml:timestamp xml:id="ts1" timeString="2017-10-28T06:56:42.875"/>
    </inkml:context>
  </inkml:definitions>
  <inkml:trace contextRef="#ctx0" brushRef="#br0">5949 7488 35 0,'0'-3'40'0,"0"2"4"0,0 1 4 0,0 0 0 0,0 1 0 0,1 0 4 0,-1 2-4 15,0 1-4-15,1 0 0 0,-1 1-4 0,-1 0-8 0,1 2 8 0,0 0-4 16,0 0 4-16,1 3-4 0,-1-2 0 0,1 3-4 0,0 1 0 0,-1 0 0 15,3 2 0-15,-3 0 0 0,1 1 0 0,1 1 4 0,-1 1-4 0,0 1-4 0,1 0 4 16,0 2 4-16,-2-1 4 0,2 2 4 0,-1 0-8 0,0 1 0 0,1-1-4 16,-1 0 0-16,1 1 0 0,0 0-4 0,0 0 0 0,0 0 4 0,0 0-8 0,1 0 0 15,0 0 0-15,0 0-4 0,0-1 0 0,0 0-4 0,0-1 0 0,0-1 0 16,1 0-4-16,0-1-4 0,-1 0 0 0,2-1-4 0,-2-1 4 0,1-2 0 15,-1 1-4-15,0-2 0 0,0-2 0 0,1 1-4 0,-1-2 4 0,0-1 0 16,1-1-8-16,-1-1-4 0,-1 0 4 0,1-2-8 0,-1 0-8 0,1-1 4 0,-2-1-8 16,1-2-4-16,-1 0-12 0,1-1-8 0,-2 0-8 0,1-2-8 0,0-1-20 15,-1-1-8-15,1 1-12 0,-2-1-16 0,0-2-28 0,1 1 16 0,-1-1 12 0,1 0 12 16,-2-1 12-16,1-1 12 0,-1 2 8 0,1 0 12 0,-1-1 4 15</inkml:trace>
  <inkml:trace contextRef="#ctx0" brushRef="#br0" timeOffset="566.0323">5796 8278 15 0,'-10'0'72'0,"-1"-1"0"0,-1 0-16 16,1 1-12-16,0-2 8 0,-1 0-4 0,0-1-12 0,0 0-4 0,0-1 0 15,1-1 0-15,-2 0 0 0,1-1 4 0,0 0-8 0,0-2 0 0,1 1 4 0,-2-3 0 16,3 1-4-16,-2-1 0 0,1 0 0 0,0-1 4 0,-1-1-8 0,2 0 0 16,1 0 0-16,0-2-4 0,0 0-4 0,1 0 0 0,1 0 0 0,0-1-4 0,0-2 0 15,2 2 0-15,0-2 0 0,1-1-4 0,0 0 0 0,1-1 0 0,1 0-4 16,0-2 4-16,1 1 0 0,2-2-4 0,1-1 4 0,-1 0-8 0,3 0 4 15,0-1 0-15,0-1-4 0,1 0 4 0,2-1 0 0,2-1 0 0,-1 1 0 0,2-2-4 16,2 2 0-16,-1-2 0 0,2 1 0 0,1 0 0 0,0-1 0 0,3 0 0 16,-1 2 0-16,3 1 0 0,1-1 0 0,0 3 0 0,1 0-4 0,3 2 4 0,-2 0-4 15,3 2 4-15,1 2 4 0,-1 1-4 0,3 1 0 0,-1 5 4 16,0 0-4-16,0 2 0 0,2 3 0 0,-1 3 0 0,1 1 0 0,0 3 4 0,0 3 0 15,-1 2 0-15,0 1 0 0,0 4-4 0,-1 0 4 0,0 3 0 0,-2 2 0 16,0 0 0-16,1 3 4 0,-2 0 0 0,-2 2 4 0,-1 2 0 0,0 1 4 0,-2-2 0 16,-2 4 4-16,0-1 4 0,-3 1 0 0,0 0 4 0,-3 2-8 0,-1-1 8 15,0-1-4-15,-3 2 0 0,-1-1 0 0,-2-1 0 0,-1 1 0 0,-2-1-4 16,0 0 0-16,-2-2-4 0,-2 2 0 0,-1-2-4 0,-2-2 0 0,0 2 4 0,-3-2-4 16,-1 0-4-16,-2 0 8 0,-1 0-8 0,-1-1-4 0,-3-1 8 0,0 1-8 15,-3-1 0-15,-1-1 0 0,0-2 0 0,-3 2 0 0,-2-3-4 0,0 1 0 16,-2-3 0-16,-1 1 0 0,-2-2 0 0,1-1-4 0,-2-1-4 0,0-1-4 0,-1-2 4 15,0 1-12-15,0-3 8 0,-1 0-12 0,1 0-8 0,0-2-4 0,1 0-12 16,0-2-20-16,1 1-16 0,1-2-4 0,0 0-16 0,2-1-16 0,1-1-24 16,2 1 4-16,1-1 12 0,3 0 16 0,0-1 16 0,3 1 8 0,2 0 12 0,0 0 8 15,4 0 8-15</inkml:trace>
  <inkml:trace contextRef="#ctx0" brushRef="#br0" timeOffset="3620.207">5122 8595 19 0,'5'-7'40'0,"-1"1"-4"0,1-1 4 0,-1 1-4 0,-1-1 4 0,1 1 0 0,-1 0-4 16,1 0 0-16,-1 0 12 0,0 0 0 0,-1 1 4 0,0 0 4 0,0 0 4 15,0 1-4-15,-1-1 0 0,-1 1 0 0,1 0 0 0,-1 1-4 0,0 0-4 0,-1 1 0 16,1-1-4-16,-1 1-4 0,-1 0 0 0,0 0 4 0,-1 2-8 0,1 0 0 15,-3 0-4-15,1 2 0 0,-1-1-4 0,0 2-4 0,-2 0 0 0,1 1 4 16,-4 0-8-16,2 3 4 0,-2 0-8 0,-1 0 0 0,-1 2 0 0,-1 1 0 0,-1 1-4 16,-1 2 0-16,-1 0-4 0,0 3 0 0,-2 1 0 0,-2 0-4 0,0 3 4 15,0 2 0-15,-3 1-4 0,1 0 0 0,-2 4 0 0,-1 0 0 0,-2 1 4 16,0 4-8-16,-2 1 4 0,1 1-8 0,-3 1 8 0,0 2-4 0,-1 0 4 0,-1 2 0 15,0 0 0-15,-1 0 0 0,0 2 0 0,0-1 0 0,0 0-4 0,0 1 4 16,1-1-4-16,-1-1 0 0,1 1 4 0,1-3 0 0,1 2 0 0,0-3 0 16,1 1-4-16,0-2 4 0,2-1-4 0,1-2 4 0,1 0-4 0,0-2 0 0,1-2-4 15,3-1 4-15,1-2-4 0,1-2 0 0,1-2-8 0,3-2 4 0,-1-1-16 16,4-2 12-16,1-1-12 0,0-4 0 0,3 2 0 0,1-4-4 0,0 1 4 15,2-3-4-15,2 0 4 0,1-2-4 0,1 0 0 0,-1-1 0 0,2-3 0 16,0 1-4-16,2-2-8 0,0 0-4 0,0-2-8 0,1-1-4 0,1-1 0 0,-1-1-4 16,2 0-4-16,0-2 0 0,0 1-4 0,1-3-4 0,-1 2-12 0,0-1-16 15,0-2 4-15,1 2 8 0,0-2 4 0,0 0 16 0,1 1 8 0,-1-1 0 0</inkml:trace>
  <inkml:trace contextRef="#ctx0" brushRef="#br0" timeOffset="4113.2352">3922 9522 47 0,'0'-4'44'0,"0"-1"-8"0,0 0-4 0,2 0 0 0,-2 0 0 0,0 1-4 15,-2 0 0-15,2 1-4 0,0-1 0 0,2 3 0 0,-4 0-4 0,2 1 4 16,0 1 0-16,-1 1 0 0,0 2 0 0,0 0 0 0,0 1 0 0,0 2 0 0,0 2 0 15,-1 0 0-15,2 1 0 0,-2 1 0 0,0 2 0 0,1 0 0 0,-2 1-4 16,2 2-4-16,-2 0-8 0,1 1 8 0,-1 1 0 0,1 1 0 0,-2-1 4 16,1 2-8-16,0 1 4 0,0 1 4 0,1-1-4 0,-2 0 0 0,2 0 0 15,-1 0 0-15,0 0-4 0,1-2-4 0,0 1 4 0,0-2 0 0,0 1 0 0,0-3 0 16,1 0-4-16,0 0 0 0,0-2 0 0,0 0 0 0,1-2 0 0,0 0 0 15,2-1 0-15,-1-2 0 0,1-2-4 0,2 2 0 0,-1-3 0 0,0-1 0 16,2-1 0-16,0-1 0 0,1-1 0 0,0-2 0 0,3 0 0 0,-2 0-4 0,2-2 4 16,1-1-4-16,1 0 4 0,-1-1-4 0,2 0 0 0,0 0 4 0,2-2 0 15,-1 1-4-15,-1-1 0 0,3-1 0 0,-2 1 0 0,3-1 4 0,-2 0-4 0,1 0 0 16,-2-1 0-16,2 1 0 0,-1 0 0 0,0-1 0 0,0 1 0 0,-1 1-4 15,0-1 4-15,-2 1 0 0,2-1 4 0,-2 1-4 0,-2 1 0 0,2-1 0 16,-3 1 0-16,1 0 0 0,-2 2 0 0,0-2 4 0,-1 2-4 0,0 0 4 16,-2 1-4-16,0-1 0 0,-1 2 0 0,0 0 0 0,0-1-8 0,-2 1 0 0,1-1-8 15,-1 2-8-15,-1 0-4 0,0 0-12 0,1-1-12 0,-1 1-16 0,-1-1-4 16,1 1-40-16,-1-1-12 0,0 0 12 0,-1 0 12 0,1 1 16 0,-2 0 8 0,1 0 8 15,0 0 8-15</inkml:trace>
  <inkml:trace contextRef="#ctx0" brushRef="#br0" timeOffset="5448.3116">3560 10717 19 0,'2'-5'56'15,"-1"1"-8"-15,1-1-4 0,0 2-4 0,0-1-4 0,1 0 0 0,-1 0 0 16,1 1 4-16,1-1-8 0,0 1-4 0,0 1-4 0,1 0 4 0,0-1 4 0,0 2 4 16,0-1 0-16,2 2-8 0,0-1 4 0,-2 1-8 0,1 0 4 0,1 0 0 15,0 1-12-15,-1 0 8 0,1 0-4 0,0 0 4 0,0 2-4 0,1-2 0 0,-1 2 0 16,1-1-4-16,-1 1 0 0,1 0 0 0,-1 0 0 0,0 0 0 0,0-1 0 15,0 2 0-15,-1 0 0 0,0-1 0 0,0 2 0 0,-1-2 0 0,-1 2 0 16,2 0 0-16,-3 0-4 0,0 0 0 0,0 1-4 0,-1 1 0 0,0 0 0 16,-2 0 0-16,1 1 0 0,-1 0 0 0,0-1 0 0,-1 2 0 0,1-1-4 0,-2 2-8 15,0-2 8-15,0 0 4 0,-1 2-4 0,0 0 0 0,0-2 0 0,-1 0 0 16,0 2 0-16,0-1-4 0,0 1 8 0,0-2 0 0,1 0 0 0,-1 0 0 0,0 0-4 15,-2-1 4-15,3 0-4 0,-1 0 0 0,1-1 4 0,0-1-4 16,0 1 0-16,1-2 0 0,-1 0-4 0,1 0 4 0,0-2 0 0,1 1-4 0,0-2 0 16,1 1 4-16,0 0-4 0,1-1 4 0,2 0-4 0,-2-1 4 0,3 1-4 15,0 0 0-15,0-1 4 0,1 0-4 0,0 0 0 0,2 0 0 0,0 0 0 0,0 0 4 16,1 0-4-16,0 0 0 0,0-1 4 0,0 1-4 0,1 0 4 0,1-1 0 15,0 1 0-15,0 0-4 0,1-1 4 0,-1 0 0 0,1 0 0 0,1 0-4 16,-2 1-4-16,3-2 8 0,-3 1-4 0,0-1 0 0,1 1 4 0,-1 1 0 16,-1-2-4-16,0 1 4 0,1-1-4 0,-2 1 0 0,0-1 0 0,0 0-4 0,-1 1 0 15,-2-1 0-15,1 0-8 0,0 0-4 0,0 1 0 0,-2-1-8 0,0 1-8 16,0 0-12-16,-1-1-12 0,0 0-8 0,-2 1-12 0,0 0-8 0,-1 0-12 0,0-2-28 15,-2 2 4-15,2 0 8 0,-3-1 12 0,1 0 16 0,-2 1 8 0,1 0 8 16,-1-2 8-16</inkml:trace>
  <inkml:trace contextRef="#ctx0" brushRef="#br0" timeOffset="6053.3462">3663 11164 31 0,'-7'0'36'0,"1"3"-4"0,-2-2-4 0,2 0 0 0,-2 0-4 0,2-1 0 16,-2 0 0-16,0-1-4 0,2 0-4 0,-2 0 4 0,-1-2-4 0,2 0 0 15,-1 0 0-15,1-1 0 0,-2-1-4 0,1-1 0 0,0 0 0 0,2-1 0 0,-3-1 0 16,2-2 0-16,0 2 0 0,1-3 0 0,0-1-4 0,-1 0 0 0,2-1 0 15,0 0 4-15,1-2 0 0,-1-1-4 0,1 0 0 0,1-1 0 0,0 0 0 16,0-2-4-16,2 0 8 0,0-1-4 0,1-1 4 0,1 0-8 0,-1 1 0 16,3-3 4-16,1 1 0 0,0-1 0 0,2 0-4 0,0 1 0 0,2-2 0 0,1 2-4 15,1-1 0-15,1 1 8 0,1 0 0 0,1 0 0 0,2 1-8 0,1 0 4 16,1 0-4-16,1 2 0 0,2 1 0 0,0 0 0 0,1 0 8 0,2 3-8 0,2 0 8 15,0 0 0-15,1 3-12 0,1 1 12 0,0 0-12 0,2 3 12 0,0-1-4 16,0 2-4-16,0 1 0 0,1 1 12 0,0 1-8 0,-1 3 0 0,0-1-4 16,0 2 0-16,0 0 8 0,-1 3 0 0,-2 0 0 0,1 1 4 0,-1 0 0 0,0 2-4 15,-2 0 4-15,0 0 4 0,-3 3 0 0,0-1-4 0,0 2 8 0,-3-1 0 16,-1 1 4-16,-1 0 0 0,-1 2-4 0,-3 0 4 0,1 0 0 0,-4 1-4 0,0 0 4 15,0 1-4-15,-3 0 4 0,0 1-4 0,-2 1 0 0,-1 0 4 16,0 0-4-16,-2 0 0 0,-1 1 0 0,-1 0-4 0,-1 1 0 0,-1-2 0 0,0 2 0 16,-2 1 0-16,-3-1-4 0,2 1 0 0,-2-1 0 0,-2 1 0 0,-1 0 0 15,-1 0-8-15,-2 0 4 0,0 0-8 0,-1 0 8 0,-3 0-4 0,0-1 4 0,-1 1-8 16,-2-1 8-16,-1 0-8 0,1-2 4 0,-3 2-4 0,0-1-4 0,-1-2 8 15,-1 1-4-15,1-1 0 0,-2 1 0 0,-1-2 0 0,0-1-4 0,-1 1 4 16,1-2 0-16,0 0 0 0,-1-1-4 0,0-2 0 0,1 2 0 0,1-2-4 16,0-1-8-16,-1-1-4 0,3-1 0 0,0 0-8 0,1-1-8 0,3-1-16 0,-1-1-4 15,2-1-8-15,2-1-12 0,1-1-12 0,2 0-4 0,1-1-36 0,2-1 8 16,0-1 12-16,3 0 8 0,1-1 16 0,1-2 8 0,3 1 8 0,-2-2 8 0</inkml:trace>
  <inkml:trace contextRef="#ctx0" brushRef="#br0" timeOffset="6715.3841">5644 9010 19 0,'7'-8'44'16,"-2"-1"-4"-16,0 3 0 0,1-1-4 0,0 1 0 0,1 0 0 0,-2 2 0 16,0 0 0-16,1 1 4 0,0 0-4 0,-1 2 8 0,2-1 0 0,-1 2 0 0,0 2-8 15,-2-1 8-15,2 1 0 0,1 2 0 0,-2-1-4 0,1 2 0 0,-1 1 0 16,1 1-4-16,2 0 0 0,-2 0-4 0,1 3-4 0,-1 0 0 0,2 0 0 0,1 2 0 15,-2-2-4-15,1 4 0 0,2-1 0 0,-2 2-4 0,0 0 0 0,0 1-4 16,2 2 0-16,-2 0-4 0,1 1 0 0,1 0 0 0,-1 1 0 0,0 2-4 16,0-1 0-16,0 2 4 0,0-1 0 0,0 2-4 0,1-1 0 0,-2 2 4 0,1-1-4 15,-1 2-4-15,2-3-4 0,-2 2 8 0,1 0-8 0,0 0 8 0,-2-2 0 16,1 1-8-16,1-1 0 0,-1 0 4 0,-1-1-8 0,1-1 12 0,-1 0-8 0,1-1 0 15,0-1 0-15,-2-1 4 0,1 0 0 0,1-1-4 0,-2-1 0 16,1-2 0-16,-2 1 4 0,2-2-4 0,-1 0 0 0,0-2 0 0,-2-1 0 0,1 1 0 16,-1-2 0-16,1-2 4 0,-2 0-4 0,2-1-4 0,-2-1 0 0,0 0 4 15,0 0 0-15,-1-1 0 0,0-1 0 0,0 0-4 0,-1-1 0 0,0 0-8 0,1 0 0 16,-1-1-8-16,-1-1 0 0,0 0-4 0,-1 0-8 0,0-1-8 0,-1-1-4 15,1 1-8-15,-1-1 8 0,0-2-12 0,-2 2-4 0,1-3-4 0,0 2-4 16,-2-2 0-16,1 1-16 0,-1-1-12 0,-1-1-4 0,1 1 4 0,-1 1 8 16,-1-1 12-16,1-1 8 0,-1 1 8 0</inkml:trace>
  <inkml:trace contextRef="#ctx0" brushRef="#br0" timeOffset="7049.4032">5905 9790 31 0,'-2'-1'52'0,"-2"-1"-8"15,2 1-4-15,0 0-4 0,-1-1-4 0,1 1-4 0,1-1 4 0,1 1-4 0,0 0 8 16,0 1 8-16,0 0-8 0,2 0 0 0,0 0 0 0,1 1 0 0,0 1 0 15,-1 0-4-15,2 1-4 0,-1 1 0 0,2 0 0 0,-1 2-4 0,0 1 0 16,2-1 0-16,-1 1-8 0,1 2 0 0,0-1 0 0,0 2-4 0,1-1 0 16,0 2 0-16,0-2 0 0,0 2-4 0,0 1 0 0,1-1 4 0,0 0-4 0,-1 0-4 15,1 1 0-15,2-1 0 0,-3 0-4 0,1-1 8 0,0 0 0 0,0 0 0 16,0 0 0-16,-1-3 0 0,3 3 4 0,-2-4 4 0,-1 1-4 0,1-1 0 0,2-2 0 15,-2 0 4-15,0-1 0 0,0-1 0 0,1-2 0 0,0 0 0 0,0-2-4 16,1-1 0-16,-1 0 0 0,0-2 0 0,1 0 0 0,0-2 0 0,-1-2-4 16,2 1 0-16,-2-1 0 0,1-1 0 0,-1-1-4 0,1 0 4 0,-1 0-4 15,0-1 0-15,1-1 0 0,-2 0 0 0,0 0 4 0,0 0-4 0,1 1-4 0,-3-2 4 16,2 1-4-16,-2 0 4 0,1 0-4 0,-1 1 0 0,-1-1 4 0,0 1-4 15,-1 2 0-15,0-2 0 0,0 1-4 0,-1 2 0 0,-1-1 0 0,1 2-4 0,-3 1-4 16,1 0-8-16,0-1-8 0,-1 3-12 0,-1 0-4 0,0 1-12 0,1 0-16 16,-2 1-12-16,0 0-24 0,0 0-20 0,0 2 8 0,-1-1 12 0,0 1 12 15,2 0 12-15,-2-1 8 0,1 2 8 0,-2 0 8 0</inkml:trace>
  <inkml:trace contextRef="#ctx0" brushRef="#br0" timeOffset="7747.4431">6409 10575 35 0,'-4'-2'68'0,"-2"-1"-4"0,1 2-4 16,0-1-16-16,-1-1 4 0,2 1-4 0,0 1 4 0,0 0-8 0,0-1-8 0,1 1-8 16,0-1 8-16,0 1-8 0,0 0-4 0,1 1 4 0,2 0-4 0,-1 0 4 15,0 0-4-15,2 0-4 0,-1 0 4 0,1 2 0 0,3-2-4 0,-2 2 0 16,2-1 0-16,0 2 0 0,0-1-4 0,1 0-4 0,0 1 0 0,2-1 0 15,0 1 0-15,-1-1 0 0,2 2 8 0,-1-3-12 0,1 3 0 0,1-1 0 0,-2 0 0 16,2 0 0-16,-1 0 0 0,0 1 0 0,0-1 4 0,0 0-4 0,0 1 0 16,-1-1 4-16,0 1-4 0,-2 0 4 0,2-1 0 0,-1 1 0 0,-2 1 0 15,-1-2 0-15,0 2-4 0,1 0 0 0,-3-1 0 0,0 1 0 0,0 0 4 0,-1 0-4 16,-1 1 0-16,0-1 0 0,-1 1-4 0,-1-1 4 0,0 1 0 0,0 0 0 15,-1 0 0-15,0-1 0 0,0 2 0 0,-2-1 0 0,1-1 4 0,0 0 0 0,0 1-4 16,-1-1 0-16,1 1 0 0,-1-2 0 0,1 2-4 0,1-3 4 16,-1 2 0-16,1-1 0 0,1-1-4 0,0 0 0 0,-1-1 0 0,2 1 0 0,0-2 0 15,1 1 0-15,1-1 0 0,0 0 4 0,2 0-4 0,0-1 0 0,1 0 0 16,0 0 0-16,2-1 0 0,-1 0 0 0,2 0 0 0,1 0 0 0,0-1 0 0,1 0 0 15,0 2 4-15,0-1-4 0,1-1 0 0,0 2-4 0,-1-2 4 0,1 2 0 16,2 0 0-16,-2-1 0 0,0 0 4 0,1 1 0 0,-2 0 0 0,1 0 0 0,1 0 4 16,-2 1 0-16,-1 0 4 0,0 1 0 0,0 0 0 0,-1 1 0 0,0 0-4 15,-2 0 0-15,-1 1 4 0,0 1-4 0,-1 0 0 0,0 0 0 0,-2 1 0 16,-1-1 0-16,0 2-4 0,-1-1 0 0,0 1 4 0,-2 0-4 0,1 1-4 15,-2-2 0-15,0 1 0 0,-2 0-4 0,1-1 0 0,0 1-4 0,-2-1-4 16,1 1-4-16,-1 0-4 0,-1 0-8 0,0-2-16 0,-1 1-8 0,1-2-8 0,-1 0-8 16,-1 1-8-16,1-2-8 0,-1 2-20 0,1-3-8 0,0 0 4 0,1 1 8 15,-2-1 16-15,2 0 8 0,0-1 8 0,0 1 8 0</inkml:trace>
  <inkml:trace contextRef="#ctx0" brushRef="#br0" timeOffset="8247.4717">6125 11108 31 0,'-12'-4'36'0,"-1"-1"0"0,1-1 0 15,0-1-4-15,0-1 0 0,1 1 0 0,-1-2 0 0,2 0-4 0,0-1 0 0,0 0 0 16,1-1-4-16,1-1 4 0,2-1-8 0,-2-1 4 0,3 0 0 0,1-2-4 16,1-1 0-16,1-1 0 0,2-1-8 0,2 0 8 0,0-1 0 0,2-2-4 15,2 0 0-15,2-1-8 0,2-1 4 0,0-1-4 0,3 0 4 0,1-1-4 0,2 1 0 16,0-2-8-16,3-1 12 0,0 2-4 0,1-1-8 0,3 0 0 0,-1-1 0 15,2 2 4-15,0 0 0 0,3 1-4 0,0-2-4 0,1 4 8 0,1-1-4 0,0 1 0 16,2 2 0-16,-1 1 0 0,3 1 4 0,-1 1 0 0,1 2 0 0,0 3 0 16,0-1-8-16,0 4 16 0,-1 0-4 0,1 3-8 0,-1 2 12 0,0 1-12 15,-1 3 8-15,0 1-4 0,0 1 8 0,-1 3-4 0,-2 1-8 0,1 1 8 16,-2 2-8-16,-1 2 8 0,0 0-4 0,-3 2 0 0,1 2 4 0,-2-1 0 0,-2 2 4 15,0 1 0-15,-2 2-4 0,-2 0 4 0,-1 1 0 0,-2 1 8 0,-2 1 4 16,-1 0-4-16,-3 1-4 0,0 1 4 0,-3 0 0 0,1 1 4 0,-4 0 0 0,-1 0 0 16,0 1 4-16,-4 0-4 0,0 0 0 0,-1 2 0 0,-1-3 0 15,-2 2-4-15,-2-1 0 0,0 0-4 0,-1 1 0 0,-3 0 4 0,0-1-8 0,-2 1 8 16,1-1-8-16,-4 0 0 0,1 0 0 0,-2-1 4 0,0 1-4 0,-1-2-8 15,-1 0 8-15,-1-1-8 0,0 1 0 0,0-3 0 0,-1 0-4 0,-1-1 4 0,0 0-8 16,-1-1 8-16,1-2 0 0,0-1-8 0,-2-1 4 0,1 0-8 0,0-3-8 16,-1 1-4-16,0-3 0 0,2-2-4 0,-2 1 0 0,2-2-4 0,-1-2-4 15,1 0 0-15,2-3-8 0,-1 1-8 0,1-2-4 0,0-2-4 0,4 1-12 0,-2-3-8 16,1 1 4-16,2-3-24 0,0 0-24 0,2-1 8 0,0-1 8 0,2-1 16 15,-1-2 8-15,3 2 8 0,-1-3 8 0</inkml:trace>
  <inkml:trace contextRef="#ctx0" brushRef="#br0" timeOffset="10341.5915">7222 8520 11 0,'-5'-5'40'0,"1"0"-4"0,1 1 0 16,-2-1 0-16,2 1 0 0,-1 1 0 0,1-1 0 0,0 1-4 0,-1-1 4 15,0 3 0-15,1-2-4 0,-1 1-4 0,2 0 0 0,-1-1-12 0,0 3 0 16,1-2 4-16,-1 1-4 0,1 0-4 0,0 0 4 0,1 0 4 0,0 0-4 0,0 1 0 15,-1 0 0-15,4 0 4 0,-1 1-4 0,0 0 4 0,0 0-4 0,3 1 4 16,-2 0 0-16,2 0-4 0,1 0 4 0,0 1-8 0,1 1 4 0,2 0 4 0,0-1-4 16,0 3-4-16,3-2 8 0,-1 3-4 0,2-1-4 0,1 0 4 15,0 1 0-15,2 1 0 0,0 0-4 0,3 1 0 0,0 0 0 0,1 1 0 0,2 0 0 16,1 0 0-16,1 2-4 0,1 0 0 0,3 0 0 0,0 1-4 0,0-1 4 15,2 2-4-15,1-1 4 0,2 2-4 0,-1-1 0 0,1 0 4 0,2 1 0 0,-1 0-4 16,1 1 0-16,0-1 0 0,-1 0 0 0,1 2 0 0,0-1-4 0,0-1 0 16,-1 2 4-16,1-1-4 0,-1 0 4 0,1 1-4 0,-2-1 0 0,0 1 0 15,0 0 0-15,-2-1 4 0,1 1 0 0,-1 1 4 0,-1-1 0 0,-2 1-4 0,1 0 8 16,-2 0-4-16,-1 0 0 0,0 0 4 0,-2 0-4 0,-1-1 0 0,0 0 0 15,-1-1 0-15,-1 1 0 0,-1-2 4 0,0 1 0 0,-2-1-4 0,0 0 4 0,0-1-4 16,-1-1 4-16,-2 1-4 0,1-2 8 0,-2 1-4 0,1-2-8 0,-1 0 0 16,-2-1 0-16,2-1 0 0,-3 0 4 0,0 0 4 0,0-2 0 0,-2 1 0 15,1-3-8-15,-1 0-4 0,-1-1-4 0,0-1 12 0,-1 0 0 0,-1 1 0 16,2-2-4-16,-2-1 4 0,-1 1-12 0,0 0 8 0,0-1 0 0,0-1 0 0,-1 1 4 15,1-1-12-15,-1 0 8 0,-1-1-8 0,1 1 12 0,-2 0-4 0,2-1-8 16,-2-1 8-16,1 1-4 0,0 0 4 0,-2 0-8 0,2-1-12 0,-1 1-4 0,0-2-4 16,-1 2-8-16,1-2-4 0,-1 0-12 0,1 0-12 0,-1 1-16 15,0-1-8-15,-1-1-4 0,1 0-16 0,-1 0-24 0,1 0 0 0,-2 0 8 0,1 1 16 16,0-2 12-16,-2 1 8 0,1 1 12 0,0-1 12 0,-1 0 4 0</inkml:trace>
  <inkml:trace contextRef="#ctx0" brushRef="#br0" timeOffset="10732.6138">8574 9458 3 0,'-3'3'60'0,"0"-1"-8"0,2 1-4 0,0-1-4 0,1 1 0 0,0 0-4 0,2-1 8 15,0 1-8-15,0-1-8 0,3 1 0 0,-1 1 4 0,0-2-4 0,2 1 8 16,-1-1-8-16,0 3 0 0,2-2 0 0,0 0-8 0,-1 1 0 0,1 0 4 0,1 0-4 16,-1 0-8-16,1 0 4 0,-1 1-4 0,2-1 4 0,0 1-8 15,0 0 0-15,0 0 0 0,1 0-4 0,0 0 0 0,1-1 0 0,0 1 4 0,-1 0 0 16,1-1 0-16,1-1-8 0,-1 0 4 0,1 0 0 0,-1-1 0 0,0-1 4 15,1 2-4-15,0-3 0 0,-1 0 0 0,3-1 4 0,-3-1-4 0,2 1 0 0,-1-1 0 16,0-3 0-16,1 2 0 0,-2-2 0 0,2 0-4 0,-1-2 8 0,-1 2-4 16,1-3 0-16,-1 1 4 0,0-1-4 0,0-1 4 0,-1 0 0 0,0 0 0 15,-1-1 0-15,-1 1-4 0,-1-1 0 0,2-1 4 0,-4 0-4 0,1 0 0 16,-1 1 0-16,-1-1 0 0,0 0 0 0,-1 0 0 0,0 1 0 0,-2-1-4 0,0 1 4 15,0 0-4-15,-2 2 0 0,0-2 0 0,-1 2-4 0,0-1 4 0,-1 1-4 16,1 1 0-16,-2 0 0 0,1 0-4 0,-1 2 0 0,0-2-4 0,0 2-4 0,0 0-4 16,-1 1-4-16,0 0-4 0,1 0-4 0,-1 1-16 0,1 1-4 15,-1 0-16-15,-1 1-8 0,2-1-8 0,0 2-24 0,0-1-12 0,0 2 0 0,-1-1 12 16,2 2 12-16,0-2 12 0,-1 2 8 0,0-1 8 0,1 2 8 0</inkml:trace>
  <inkml:trace contextRef="#ctx0" brushRef="#br0" timeOffset="11311.647">9268 9974 43 0,'-2'-7'68'0,"1"1"-8"0,-1 0-8 0,0 0 4 0,0 1-12 16,0 0 4-16,-1-1-4 0,1 2 4 0,-2-1-4 0,1 1-4 15,0 1 0-15,-2-1 0 0,1 2-8 0,-1-1-4 0,1 2 0 0,-3 1 0 0,1 0-4 16,0 1 0-16,1 1-4 0,-2 0 0 0,0 1-4 0,0 2 4 0,0 0-4 15,-1 2 0-15,1 0 0 0,0 1-4 0,1 0-4 0,1 1 4 0,-1 2-4 0,-1 0 0 16,2-1 0-16,1 2 0 0,0 0-4 0,0 1 0 0,2 0 4 0,-2-1-4 16,3 1 0-16,0 0 4 0,0 0 0 0,2 0-4 0,0 0 0 0,2 0 4 15,0-2 0-15,2 2 0 0,1-3 4 0,0 1-4 0,4-2 0 0,-1 1 0 0,0-2 4 16,3 0 0-16,0-2-4 0,2 0 0 0,0-2 0 0,2 0 0 0,0 0 0 15,2-1 0-15,-1-2 0 0,2 1 0 0,-1-1-4 0,2-1 0 0,0 0 0 16,-1 0 0-16,2-1 0 0,0-1 0 0,-2 1-4 0,2-2 0 0,0 2 4 0,-2-2-4 16,1 1 0-16,-1-1 0 0,0 0-4 0,-1 0 4 0,0 0-4 0,-1 0 0 15,-2 0-4-15,1-1 4 0,-2 2-8 0,0-1 4 0,-1 0-4 0,0 0-4 16,-3 1 0-16,-1-1 0 0,2 1-12 0,-4-2 0 0,-1 2 0 0,0 0-8 0,-2 0-8 15,1-1-4-15,-3 0-4 0,-1 0-8 0,-1 1-8 0,-1-1 0 0,-1 0-12 16,-3-1-24-16,0 1 4 0,0 0 8 0,-1-1 16 0,-1 1 8 0,-3-1 4 0</inkml:trace>
  <inkml:trace contextRef="#ctx0" brushRef="#br0" timeOffset="11528.6594">9414 10031 67 0,'-3'-2'72'0,"0"1"0"0,2-2-12 16,-2 1-12-16,2 0-8 0,0 0 4 0,1 1-4 0,0-1-4 0,0 1-8 15,1 1 4-15,0 0 4 0,1 0 4 0,-1 0-8 0,0 0 4 0,0 2 0 16,1 0 0-16,-1 0-8 0,1 2 0 0,-1 1 0 0,0 0-4 0,0 0-4 0,0 2 0 15,1 1 0-15,-2 0-4 0,0 2 0 0,1-1 0 0,0 3-4 0,0 0 0 16,0 0 0-16,-1 1-4 0,1 0 0 0,-1 1 0 0,0 2-4 0,1-1 0 0,-1 1 0 16,1 1-4-16,-1 0 0 0,1 0-4 0,-1 0-4 0,0 0-4 0,1 1-4 15,-1-1-4-15,0 0-4 0,1-1-4 0,0 0 0 0,0-1-8 0,0-1-4 16,0 0-4-16,1-1-4 0,-1-1-4 0,1 0 0 0,-1-2-16 0,1 0-16 0,0-3-12 15,-1 1 4-15,2-1 12 0,-2-2 8 0,1 0 12 0,0-1 0 0</inkml:trace>
  <inkml:trace contextRef="#ctx0" brushRef="#br0" timeOffset="11995.686">9188 10613 3 0,'-11'5'60'0,"0"1"-8"0,-2-1-8 0,2-1 0 0,-1-1 0 0,0 0-8 16,1-1 0-16,-3 0-4 0,3-2-4 0,-1 0 4 0,-1 0 0 0,2-2-4 0,-2-1 0 15,1 0-8-15,0-2 4 0,-1-1-4 0,2 0 0 0,-3-2-12 0,3-1 8 16,-1 0-8-16,0-3 0 0,1 1 0 0,1-3 0 0,-2 0 0 0,2-2 4 0,2-1 0 16,-2-1-4-16,3-2-8 0,0-1 4 0,1-2-4 0,2 0 16 15,0-2-16-15,1-2 16 0,3-1-4 0,0 1 4 0,1-4-12 0,2 2 4 0,3-2 8 16,0 1-8-16,2-2 0 0,1 2-4 0,2-1 4 0,2 0 0 0,2 1-8 15,1-1 8-15,3 2-4 0,0 0 4 0,3 2 0 0,1 0 8 0,3 0-4 0,1 2 0 16,1 2 4-16,4 1-4 0,0 1-4 0,1 1 4 0,2 4 0 0,1-1 0 16,0 3 0-16,1 2-4 0,1 1 4 0,0 2 0 0,0 3 0 0,0 0-4 15,0 2 0-15,1 2 0 0,-2 1 0 0,0 2 0 0,0 1-4 0,0 1 4 0,-1 2 0 16,-1 2 0-16,-2-2-4 0,0 4 0 0,0 0 4 0,-3 2 0 0,0 1 0 15,-2-1 0-15,-2 3 0 0,0 0 0 0,-4 1 0 0,-1 1 0 0,-1 2 0 0,-3 0 4 16,-1 1 0-16,-3 1 4 0,0 0 0 0,-4 2 0 0,0 0 0 0,-2 2 4 16,-1-1 0-16,-2 1 4 0,-2 1-4 0,-1 0-4 0,-2 1 4 0,-2-1-12 15,-1 1 8-15,-3 1 0 0,1 1 4 0,-3 0-4 0,-2-1 0 0,0 1-4 16,-2 0 0-16,-2 0-4 0,-1 1-4 0,-2-1 4 0,-2 1 4 0,0 0-4 0,-2-1-8 15,0 0 8-15,-1-1 0 0,-3 0 0 0,1-1-4 0,-2 1 0 0,0-2-4 16,0-2 4-16,-1 1-4 0,0-2-4 0,-1-1 4 0,1 0 0 0,-1-2 0 16,-1-1-4-16,2-2-4 0,-1 1-4 0,0-4-8 0,0 0 0 0,0-2-4 15,1-2-8-15,0-2-4 0,0-1-4 0,1-2-4 0,1-1-12 0,-1-2-8 0,2-2-4 16,0-1-12-16,0-2-4 0,3 0 0 0,0-1-8 0,-1-1-20 0,4-1-8 15,0 0 8-15,0-1 12 0,2-1 12 0,-1 1 12 0,3-1 8 0,-1 1 8 0</inkml:trace>
  <inkml:trace contextRef="#ctx0" brushRef="#br0" timeOffset="14650.8379">4977 12858 43 0,'3'0'76'0,"0"0"-12"0,0-1-4 0,-1 0-4 0,1 0 0 16,-1 1 0-16,0-1-8 0,1 0-4 0,-1-1 0 0,0 2-4 0,-1 0 8 16,1-1 0-16,-2 1-4 0,1 0-4 0,0 0 4 0,-1 0-4 0,0 0 0 0,-1 0-4 15,0 1-4-15,1 1 0 0,-2-1 0 0,-1 1-4 0,2 1-4 0,0 0 0 16,-1 2-4-16,1-1 0 0,1 2 0 0,-1 0 0 0,1 0-4 0,0 0-12 15,0 1 12-15,-1 0-4 0,2 0 4 0,-1 1-8 0,1 0 4 0,0 1-4 0,1 0 4 16,0-2-4-16,1 2 4 0,-1 0-8 0,1 0-4 0,1 0 4 0,-1 1 4 16,2-1-4-16,0 1 0 0,3-2-4 0,-3 2 4 0,3-2 0 0,-1 1-4 15,1-1 8-15,2-1-4 0,0 1 0 0,0-1 0 0,1 0-8 0,-1-1 4 0,3 0 0 16,-2 0-4-16,1 0 4 0,1-1 0 0,-1 0 0 0,1 0 0 0,-1 1 0 15,0-2 4-15,1 1-4 0,-2 0 0 0,1-1 0 0,0 1 0 0,-1-2 4 16,1 1-4-16,-2 0 0 0,0 0 0 0,0-1 0 0,-1 1 4 0,-1 1 0 16,0-2 0-16,0 1-4 0,-1 0 8 0,-2 0-4 0,0-1 4 0,-1 2-12 0,0-1 8 15,0 1 0-15,-2 0-4 0,-1-1 8 0,-1 1-4 0,0 0-8 0,-1 1 0 16,0-1 4-16,-2 0 0 0,-1 0 0 0,0 2-4 0,-1-2 0 0,0 2 0 0,-1-2 4 15,0 1 0-15,-3 0 0 0,2 0 4 0,-2 0-4 0,-1 0-4 0,1-1 4 16,-1 1 0-16,-1-2 4 0,-1 1-8 0,1-1-4 0,-3 0 0 0,2-1 0 16,-2-1-4-16,1 0 0 0,-1-2-4 0,-1 0 0 0,1-2 0 0,-2-1-4 15,2-1-4-15,-2-1-4 0,1-1-8 0,-1-1-4 0,2 0 4 0,-1-2-8 0,1-2 0 16,-1 0 0-16,2-1 0 0,-1-1-4 0,2-1 4 0,1 0 0 0,0-2 4 15,1 1 8-15,1-1 0 0,0 0 4 0,2-1 8 0,2-1 0 0,0 0 0 0,1 2 8 16,1-2 0-16,0 0 0 0,3 1 4 0,1-1 4 0,2 1 8 16,0 1 0-16,1 0 4 0,1 1-4 0,1 0 4 0,1 1 8 0,2 1 4 0,0 1 0 15,0 1 4-15,1-1 0 0,0 2 4 0,0 1-8 0,2 1 4 0,-1 0-4 16,0 1 8-16,1 0 0 0,0 1 0 0,-1 1-4 0,2 0 0 0,-2 1-4 0,2 0 4 15,-2 1-4-15,1-1-4 0,0 2 4 0,-1 0-4 0,-1-1-4 0,2 2 4 16,-2-2-4-16,1 2 0 0,-1-1-4 0,-1 1 0 0,0-1 0 0,1 1-4 16,-1 0 0-16,-1-1 4 0,2 1-4 0,-3-1 4 0,1 1-8 0,0 0 0 0,0-1 0 15,-1 1-4-15,0 0 0 0,0 0-8 0,0-1-4 0,-2 2-4 0,1-1-12 16,-2 1-16-16,0 0 0 0,-1 0-20 0,1 1-4 0,-3 1-20 0,2-1-20 0,-2 0-4 15,-1 2 12-15,0-1 12 0,-2 1 12 0,-1 0 8 0,2 1 8 0,-3 2 8 16</inkml:trace>
  <inkml:trace contextRef="#ctx0" brushRef="#br0" timeOffset="16111.9215">8526 12392 27 0,'2'-5'60'0,"-2"0"-8"0,1 1 0 16,-1 1-4-16,-1 0-8 0,0 2 4 0,0 1 0 0,1 1-8 16,-2 1-4-16,1 2 12 0,-1 0-8 0,1 1-16 0,-2 2 16 0,0 3 4 0,-1 0-8 15,0 1-4-15,0 2 4 0,-1 0-8 0,0 2-4 0,0 2 4 0,0 0-4 16,-1 0 0-16,0 3-8 0,1 0 0 0,0 1 4 0,1 1 0 0,0-1-4 0,-1 1-4 15,1 0 0-15,1 2 0 0,0-2 0 0,0 0 0 0,0 0 0 0,1 1 0 16,1-1 4-16,-2-1-4 0,2-1 0 0,0 0 0 0,1-1 0 0,0 1-4 16,0-5 0-16,1 2 0 0,1-3 4 0,0-1-4 0,0 1 0 0,0-3 0 15,3-2 4-15,-1 1-4 0,1-4 0 0,0 0 0 0,2-3 4 0,0 1-4 0,-1-3 0 16,2 0 0-16,1-2 0 0,-1-1 0 0,1-2 0 0,0 1 0 0,0-2-4 15,0-1 4-15,2 0 0 0,-2-1-4 0,0 0 4 0,0-2 0 0,1 1-4 0,-2-1 0 16,0-1 4-16,2 0-4 0,-2 1 0 0,-1 0 4 0,0-1 0 0,-1 1 0 16,1-1 0-16,-3 0 0 0,0 1 0 0,-1 0 4 0,-1 1-4 0,0 0 0 15,-3 1 0-15,0 0 0 0,-1 0 0 0,-2 1 0 0,-1 1-4 0,-1 0 4 0,-2 1-4 16,1 0 0-16,-1 3 0 0,-1-2 4 0,-2 0-4 0,0 3 0 0,0 0 0 15,-1 0 0-15,0 0 0 0,-1 0-4 0,1 2 4 0,-1-1 0 0,1 2 0 0,0-1-4 16,-1 0 4-16,0 1-4 0,1-1-4 0,1 1-4 0,1 1-4 16,-1-1-12-16,1 0 0 0,1 2-4 0,2-2-12 0,-2 1-4 0,3 1-12 0,0-1-4 15,2-1-4-15,0 1-12 0,0 0-16 0,1-1-8 0,1 0 4 0,2 1 8 16,0-2 16-16,0 1 8 0,1-1 8 0</inkml:trace>
  <inkml:trace contextRef="#ctx0" brushRef="#br0" timeOffset="16630.9512">8336 13209 7 0,'-13'7'60'0,"0"0"-8"0,0-1-4 0,-2-2-8 16,2 1 4-16,-2-2-8 0,2 0 4 0,-2-2 0 0,1-1 8 0,-1-2-8 16,1-1-8-16,-1-1 0 0,1-2-16 0,0 0 8 0,0 0 0 0,1-3-8 0,0 0 0 15,-1-2-4-15,2 0 4 0,0-2 0 0,1-1-12 0,-1 0 12 0,3-1 0 16,0-2-4-16,-1 0-8 0,3-2 8 0,0 0 4 0,2-2-8 0,0-1 4 0,3-1-8 15,0-2 4-15,2 0 4 0,2-2-8 0,0-2 0 0,4 1 0 0,0-4 0 16,2 0 4-16,1 0-8 0,4-1 0 0,0-1 8 0,3 1-4 0,0-2 0 16,3 1 0-16,2 0 0 0,2 0 0 0,2 0-4 0,2 2 4 0,1-1 0 15,2 2-4-15,2-1 4 0,2 3-4 0,1 0 4 0,1 1-4 0,2 2 4 0,-1 1-4 16,2 1 0-16,-1 2 0 0,3 3-4 0,-2 1 4 0,2 2 0 0,-1 2 0 15,0 3 0-15,-1 3 4 0,1 2 0 0,-2 1-4 0,0 3 12 0,-1 3-12 16,0 3 4-16,-2 1 8 0,1 2-4 0,-4 1 0 0,1 4 4 0,-4 0-4 16,0 3 4-16,-3 1 0 0,-1 2 0 0,-2 1 4 0,-1 1 0 0,-3 2 4 0,-2 1 4 15,-2 1 0-15,0 2 0 0,-4 1 4 0,-2 1 4 0,0-1 0 0,-2 2-8 16,-3 1 4-16,-2 1-4 0,0 0 4 0,-3 1-8 0,-1 0 0 0,-2 0 4 0,-1 1-8 15,-3 0-4-15,-2 1 0 0,0 1-8 0,-3-2 8 0,-2 2 0 0,-3-1 0 16,1 1-4-16,-4 0-8 0,0-1 4 0,-2 0 0 0,-3-1 8 0,0 0-12 16,-2-1-4-16,-1-1 8 0,-1-1 0 0,-2 0-8 0,0-3 4 0,-1 0-4 15,0-2 8-15,0-1-8 0,-2-2-4 0,0 0 0 0,1-3 0 0,-3-1 0 0,1 0-8 16,1-3 0-16,-1-2 0 0,-2-1-4 0,2-1-4 0,-1-4 0 0,0-1-4 15,1-1 0-15,0-4-8 0,1-1 0 0,-1-1-8 0,3-2-4 0,0-1-4 0,1-1-16 16,2-3-4-16,0 1-8 0,2-1-20 0,2-1-24 0,0-1 12 16,2 0 8-16,0 0 16 0,1 0 12 0,3 0 4 0,-2-1 12 0,3 2 4 0</inkml:trace>
  <inkml:trace contextRef="#ctx0" brushRef="#br0" timeOffset="18608.0643">6873 14690 35 0,'-5'-1'56'0,"0"1"-4"0,0-1 0 0,-1 0 0 0,-1 0-4 15,2 1 4-15,0-2-4 0,-1 1 0 0,0-1 0 0,0 1 0 0,1-1-4 0,1 0 0 16,-1 1-8-16,1-1 0 0,0 2 4 0,0-1-4 0,-1 0-8 16,2 1-4-16,-1-1 0 0,1 1-4 0,2-1 0 0,-2 0-4 0,2 1 0 0,0 0 0 15,1 0-4-15,0 1 4 0,2 0-4 0,1-1-4 0,0 2 0 0,0-1 0 16,2 1 0-16,1-1-4 0,0 0 4 0,0 1 0 0,1 0-4 0,1-1 0 0,0 0 4 15,1 0-4-15,0 1 0 0,3-2 0 0,-2 0 0 0,1 0 0 0,2 0-4 16,-1 0 4-16,1 0 0 0,0 0 0 0,2 0 0 0,-2-2 0 0,1 1-4 16,0 1 0-16,0-1 4 0,0 0 0 0,0 0-4 0,-1-1 0 0,0 1 0 0,0 0 0 15,0 0 0-15,-2 0 0 0,2 0 4 0,-3 1 0 0,1 0 0 0,-1 0 0 16,-1 1 4-16,0 1 0 0,-1 0-4 0,0 1 4 0,-2 0 0 0,0 2 0 0,-1 0 4 15,-1 1 0-15,0 2-4 0,-1-1 0 0,-1 3 4 0,0-1 0 0,-1 3 0 16,-1-1-4-16,-1 1 0 0,0 2 0 0,-1 0 4 0,1 0-4 0,-2 2 4 16,0-1-4-16,-1 1 0 0,0 1 0 0,0-1 0 0,0 1 4 0,0 0-4 15,0 1 0-15,-1-2-4 0,-1 2 0 0,2-1 0 0,-1-1-4 0,1 0 4 0,-1 1-4 16,1-2 0-16,0 0 0 0,-1-1 4 0,2-1-4 0,-1-1 0 0,1 1 4 15,0-2 0-15,0-2-4 0,2 0 0 0,-2 0-4 0,2-1 0 0,0-1 4 0,0 1-8 16,0-4 0-16,1 1-4 0,0 0-4 0,1-3-4 0,-1 1-4 16,1-1-8-16,0-1 0 0,1-1-8 0,-1 0-4 0,1-1-8 0,0-1 0 0,0 1-12 15,0-3-4-15,0 0-8 0,0-1 0 0,0 1-20 0,-1 0-16 0,1-2 4 16,0 0 12-16,-2 1 12 0,2-2 8 0,0 2 8 0,-1-2 8 0</inkml:trace>
  <inkml:trace contextRef="#ctx0" brushRef="#br0" timeOffset="19104.0927">6897 15302 31 0,'-10'4'56'0,"0"-1"-4"0,1-1-4 0,-1 0-4 16,-2-1-4-16,2-1-4 0,0 0-4 0,-2-1 0 0,1 0-4 0,1-1 0 0,-2-2-4 15,1 0-8-15,0 0 8 0,-2-2-12 0,2 0 0 0,-1-2 0 0,1-1 0 16,0-1-4-16,0 0 4 0,0-2-8 0,1 0 0 0,-1-2 12 0,2 0-8 16,0-2 0-16,0-1-8 0,2-1 12 0,0-1 0 0,1-1-12 0,1-1 12 0,0-2-8 15,1-1 8-15,2 1-4 0,0-3 0 0,1 0-8 0,2-1 8 0,2-1 0 16,0 0 0-16,3-2 4 0,0 0-8 0,3 0 8 0,0 0-12 0,5-1 8 0,-1-1-4 15,3 2 8-15,2 1-16 0,1-1 12 0,3 1-4 0,0 0-8 0,3 3 8 16,0-1 4-16,3 4-4 0,0 0 0 0,1 2 0 0,1 1 0 0,1 1 4 16,1 3 0-16,0 1 0 0,1 1 0 0,0 3 8 0,1 0-8 0,0 4 4 15,0-1 0-15,-1 3 0 0,1 2 4 0,1 1-4 0,-2 2 4 0,0 2-4 0,-2 2 0 16,1 2 0-16,-3 0 0 0,-1 3 0 0,0 1 0 0,-3 0 0 0,0 3 0 15,-1 0 0-15,-2 2 0 0,-3 0 0 0,1 2-4 0,-2 0 0 0,-2 0 0 0,-1 1 0 16,-2 1 4-16,-1 1 0 0,0 0 0 0,-3 0 4 0,-1 1 0 16,0 1 0-16,-3 0 0 0,-2 1 0 0,-1-1 0 0,-2 3 4 0,0-3 0 0,-3 2-8 15,0 1 8-15,-3-1 0 0,-1 0-4 0,-1 1-4 0,-1-1 4 0,-2 1 0 16,-1 0-4-16,0 0-4 0,-3 0 4 0,0-1-4 0,-1 0 0 0,-3 1 0 0,1-1 4 15,-1 0-12-15,0-2 8 0,-4 0-4 0,1 0-4 0,-1 0 12 0,0-2-8 16,-2 1 0-16,0-4-4 0,-2 1 8 0,0 0-4 0,-1-3 4 0,1 1-4 16,-3-2-8-16,0-1 4 0,-1-2-4 0,-1 1 0 0,-1-2-4 0,0-1-4 0,0-1-4 15,-1-1 0-15,1-2-8 0,-1 0 0 0,0-3-4 0,1 1-4 0,-1-2-8 16,2-1-4-16,-1-1-4 0,0-2-4 0,1 1-16 0,2-1-8 0,-1-1-4 0,2-1-8 15,1-1-24-15,0 0-8 0,2 0 4 0,1-1 16 16,1 0 12-16,2 0 8 0,1-1 8 0,1 0 12 0,3 0 4 0</inkml:trace>
  <inkml:trace contextRef="#ctx0" brushRef="#br0" timeOffset="21079.2056">4542 11014 7 0,'-4'-2'52'16,"1"0"-8"-16,0-1-4 0,-1 2 0 0,1-1 0 0,0 0-4 0,0-1 0 0,0 3 0 15,0-2-4-15,1 1 0 0,0-2 4 0,-1 2-4 0,0 0-4 0,2-1-8 16,-1 0 4-16,1 2-8 0,-1-2 0 0,1 2 8 0,1-2 0 0,0 1-8 0,1 0 4 15,0 0 0-15,0 0 0 0,2 0 0 0,0-1 4 0,2 1-4 16,0 0 0-16,1 0 8 0,0-2-4 0,1 2 0 0,2-1-4 0,-1-1 0 0,2 1 0 16,1-2-4-16,0 1 0 0,1 1 0 0,1-1 0 0,0 0 0 0,3 0-4 15,0 0 4-15,0-1-4 0,2 0 0 0,1 1 0 0,1-1 4 0,1 1 0 0,1-1 0 16,0 0 0-16,1 0 0 0,1 0 4 0,0 0-8 0,1 0 4 0,0-1 0 15,-1 2 0-15,1-2 0 0,0 0-4 0,0 2 8 0,0-1-4 0,-1 1 0 16,0-1 0-16,0 1-4 0,-1-1 0 0,-2 1-4 0,1 0 0 0,0-1 8 0,-3 1-8 16,1 0 4-16,-1 1 8 0,-2-1-4 0,0 0-4 0,-1 1 4 0,-1-1-4 15,-2 0 4-15,0 1-8 0,-2 1 4 0,-2-1-4 0,1 1 0 0,-2-1 4 0,-1 1-4 16,-1 0-4-16,1 0 4 0,-3 0-8 0,0 0 8 0,0 1 4 0,-2 0-8 15,1 0 8-15,-1-1-12 0,0 1 4 0,0 0 4 0,-2 0-4 0,1 0 0 16,0 0-4-16,-1 0 0 0,1 0 4 0,-1 0-4 0,1 0-4 0,-1 1 8 16,0-1-4-16,0 0 4 0,1 0-4 0,-1 0 0 0,2 0 0 0,-2 0 0 0,1 0 0 15,0 0 0-15,0-1 0 0,-1 1 4 0,1 0-4 0,0-2 0 0,0 2 0 16,0-1-4-16,-1 1 0 0,1-1-4 0,0 1-12 0,0-2 8 0,0 2-8 0,0-1-8 15,-1 1-8-15,1-1-4 0,0 0-4 0,0 1-12 0,0-1-12 16,-1 0 0-16,0 1-12 0,-1-2-8 0,1 1 0 0,-1 1-4 0,0-2-20 0,0 1-8 16,0 0 0-16,0 1 16 0,-1-2 12 0,1 2 8 0,-1-1 12 0,0 1 4 15,1 0 8-15</inkml:trace>
  <inkml:trace contextRef="#ctx0" brushRef="#br0" timeOffset="21710.2417">5444 10599 27 0,'1'-2'36'0,"0"1"-4"0,0-1 0 0,1 1 0 0,-1 0-4 0,2 1-4 0,-1 0 4 15,2 1-4-15,-1 0 4 0,2 1-4 0,-1 1-4 0,1-1 4 0,0 1 0 16,1 0 0-16,-1 2 4 0,2-1-4 0,0 1 8 0,-1 0-12 0,1 0 0 0,2 0 4 15,-1 2-8-15,0-2 0 0,1 1 4 0,1 0 4 0,0 1 0 16,0-1 4-16,2 0-8 0,-2 0 4 0,1 1 0 0,1-2 0 0,-2 1 0 0,2-1-4 16,-2 1 0-16,1-1-4 0,0 1 8 0,0-2-4 0,-2 1 0 0,1-2-4 15,-1 2 0-15,0-1 0 0,-1-1 0 0,0 1 0 0,-1-1 0 0,-1 1 0 0,0-1 4 16,1 2 0-16,-2-2 0 0,-1 2-4 0,-1 0 0 0,0 0-4 0,-1 2 4 15,0-1 0-15,-2 0-4 0,0 3 0 0,0-2-4 0,-2 1 0 0,0 1-4 16,0 0 0-16,-1 1 4 0,-1 0-4 0,-1-1 4 0,0 1-4 0,-1 1 0 16,0 0 0-16,-1-1-4 0,0 2 4 0,-1-1 0 0,0 1 0 0,-1-1 0 0,-1 0-4 15,0 1 0-15,0 0 0 0,-1-1 0 0,0 0 0 0,1-2 0 0,-2 2 4 16,1-2-8-16,-1-1-8 0,1 1 12 0,-1-1 0 0,0 0-4 0,1-1 0 0,0-1 4 15,0 0-4-15,1 0 0 0,0-2-8 0,-1 2-4 0,1-1-4 16,2-2-8-16,-1 1-8 0,1 0-8 0,0-1-8 0,1 1-8 0,0-3-12 0,1 1 0 16,1 0-16-16,0-1-28 0,2 0 0 0,-1 0 12 0,3-1 8 0,-1-1 16 15,1 1 4-15,1-1 8 0,1-2 12 0</inkml:trace>
  <inkml:trace contextRef="#ctx0" brushRef="#br0" timeOffset="24314.3907">4340 11583 11 0,'-4'-3'60'0,"1"1"-8"0,0 0 0 0,-1-1-4 15,0 1 0-15,1 1-8 0,0-1-4 0,0 0 0 0,1 1-8 0,-1 0 0 16,0-2-4-16,1 2-8 0,0 0 0 0,-1 0 0 0,2-1 0 0,-1 1-4 0,1 1 8 16,-2 0 0-16,2 0-4 0,0-1-4 0,0 2 0 0,1-1 4 0,1 2 0 15,0 0-20-15,2 0 20 0,-1 1-4 0,1-1 4 0,1 2 0 0,0 1-8 0,0-1 8 16,2 2 0-16,-1-1-4 0,1 1 4 0,1 0-4 0,-1 1 4 0,2 1-4 15,0-1 8-15,0 1-8 0,1 2 4 0,0-1 0 0,2 2 0 0,-1 0-4 16,1 0 4-16,0 1-4 0,1 2 0 0,1-2 0 0,-1 1 0 0,1 1-4 16,2 1 4-16,-2 0-4 0,2 0 0 0,-1 1 0 0,2 0 0 0,-2 1 0 0,3 0 0 15,-3-1 0-15,3 2 0 0,-2-1 0 0,2 1 0 0,-2 0-4 0,1 0 4 16,0 0 0-16,0-1 0 0,0 2 0 0,0-2 0 0,-1 1 0 0,0-1 0 0,0 0 0 15,0-1-4-15,-1 1 4 0,1-1 0 0,-2-1 0 0,0 0 0 16,-1 0 0-16,2-1-4 0,-3-1 0 0,0-1 0 0,1 0 0 0,-3-1 0 0,0 0 0 16,1-1 0-16,-1 0 0 0,-1-2-4 0,-1 0 4 0,1 1-4 0,-2-3 4 15,1 0 0-15,-1 0 0 0,-1-1 0 0,-1 0-4 0,2 0 0 0,-2-2 4 0,0 1 0 16,0-1-4-16,-1-2 4 0,-1 2-4 0,1-2 0 0,-1 1 0 0,0-1 0 15,0-1 4-15,-1 2-4 0,0-2 0 0,0 1 0 0,0-1 4 0,0 1 0 16,-1-1-4-16,1 0 0 0,-1 0 0 0,-1 0 0 0,0-1-4 0,0 0 0 16,-1 1-4-16,1-2-4 0,-2 1-4 0,2-1-8 0,-2 1-4 0,1 0-8 0,0-2-4 15,0 1-12-15,-2 1 8 0,2-2-8 0,-1 1-8 0,0 0-4 0,0 1 4 16,-1-2-4-16,0 1-4 0,1-1-8 0,0 0-20 0,-1 1 0 0,0-1 8 0,0 1 8 15,0-1 16-15,-2 1 4 0,2-2 8 0</inkml:trace>
  <inkml:trace contextRef="#ctx0" brushRef="#br0" timeOffset="24681.4117">4719 12247 15 0,'-4'-1'48'0,"1"-1"-4"0,0 1-4 0,-1-1-4 0,2 0-4 16,0 0-4-16,-1 1-4 0,1 0-4 0,1 1 0 0,0-2-4 0,1 2 0 15,0 0 0-15,0-1 0 0,2 1-4 0,-1 1 0 0,1-1 0 0,0 2 4 16,2-2 0-16,-1 2 0 0,1-1-4 0,1 1 4 0,1 1-4 0,0-2 4 16,1 3-4-16,0-1 0 0,2 1-4 0,0 0 0 0,0-1 8 0,0 2-4 0,1 0-8 15,0 0 12-15,0 0-8 0,2 0-8 0,-1 0 8 0,0 0 8 0,1 1-8 16,-1 0 0-16,2-1 0 0,-3 0-8 0,2 0 8 0,-1 0-4 0,0 1 8 0,0-1-4 15,0-2 4-15,-1 2-4 0,0-2 0 0,1 0 8 0,-2 0-8 0,0 0 4 16,1-2 4-16,-2 0 0 0,-1-1-4 0,1 0 4 0,0-2-8 0,-1 0 4 16,1-1 0-16,-2-1-4 0,1-1 4 0,-1-1-8 0,0 0 0 0,-1-1-4 15,0-1 0-15,0-1 0 0,0 0 0 0,-1-2 4 0,0 0-4 0,-1-1 4 0,0 0 0 16,0-1-4-16,-2 0 0 0,1 0 8 0,0 0-8 0,-1-1-4 0,-1 1 4 15,1-1 4-15,-1 1 4 0,0-1-4 0,0 2-4 0,-1-1 0 0,0 1-4 16,1 1 0-16,-2 1 0 0,0-1-4 0,1 2-4 0,-2 0-4 0,2 0-4 16,-2 2 0-16,1 1-8 0,-1-1-12 0,1 2-8 0,-1 1-4 0,0 1-4 0,0 0-20 15,2 0-20-15,-2 1 0 0,2 2 12 0,0 0 8 0,0-1 12 0,0 1 4 16</inkml:trace>
  <inkml:trace contextRef="#ctx0" brushRef="#br0" timeOffset="25272.4455">6344 11448 7 0,'-1'0'48'15,"-1"-1"0"-15,1 0 0 0,0-1-8 0,-1 2 0 0,1-1 4 0,0 1-4 0,0 0-8 16,-1 0 8-16,0 0-4 0,1 1-4 0,-2-1 12 0,1 2-4 0,-1 0-8 15,1 0 4-15,-1 1-4 0,1 0 0 0,-1 1 0 0,-1 1-4 0,0 2-4 16,0-1-4-16,0 2 0 0,-2 0 0 0,1 2-4 0,-1 0 0 0,1 2 4 16,-2 0-12-16,0 1 4 0,-1 1 0 0,1 1 0 0,-2 1 0 0,0 0 0 0,-1 2 0 15,0 0-4-15,-2 2-4 0,1 0-4 0,-2 2 4 0,1-2 0 0,-1 4 0 16,-1-2 0-16,0 2 4 0,-1-1-4 0,0 2 0 0,0-1 0 0,0 1 0 0,-2-1 4 15,3-1-4-15,-2 0 0 0,1 0 0 0,-1 1 0 0,2-3 0 0,-1 0-4 16,2-1 0-16,-1 0 0 0,2-2 0 0,0 0 4 0,-1-2-4 0,3 0 0 0,0-1 0 16,-1-1 0-16,2-2-4 0,2-1 0 0,-2 0 0 0,3-2-4 15,-1-1 0-15,2 0-4 0,1-2 4 0,1-2 4 0,0 1-8 0,1-2-4 0,0-1-4 16,2-1-4-16,0-1-4 0,0 0 0 0,2-1 0 0,-2-1-4 0,3 1-4 15,-1-3-4-15,-1 1 0 0,2 1-4 0,-2-3 0 0,2 2-4 0,-1-1-8 0,0 0-16 16,0 0-12-16,0-1 4 0,0 0 8 0,0 1 4 0,0-1 8 0</inkml:trace>
  <inkml:trace contextRef="#ctx0" brushRef="#br0" timeOffset="29253.6732">5624 12099 3 0,'1'0'24'0,"-1"0"0"0,1 0-4 0,-1 0 0 16,0 0 4-16,1 0-8 0,-1 0 0 0,0-1 0 0,1 1 0 15,-1 0-4-15,0 0 0 0,0 0 0 0,0-1-4 0,0 1 0 0,0-1 4 0,0 1-4 16,0 0 0-16,0 0 0 0,0 0 0 0,0 0 4 0,0 0 0 0,0 0-4 15,0 0 0-15,1 0 0 0,-1 0 0 0,0 0-4 0,0-2 4 0,0 2 0 0,0 0 0 16,0 0 0-16,0 0 0 0,-1 0 0 0,2 0-4 0,-2 0 0 0,1 0 4 16,0 0-4-16,1 0 0 0,-2 0 0 0,1 0-4 0,0 0 4 0,1 0 0 15,-1 0-8-15,0 0 4 0,1 0-4 0,-1 0 4 0,1 0 0 0,0 2 0 16,-1-2-8-16,0 0 0 0,1 0-4 0,0 1 4 0,0 0-4 0,0-1 0 0,0 1-4 15,-1 0 4-15,1 0-4 0,1 1 0 0,-1-2 8 0,-1 2-8 0,1-2-8 16,1 2 0-16,-1 0-8 0,0-1 4 0,1 1-16 0,-1 0 4 0,0-1-4 0</inkml:trace>
  <inkml:trace contextRef="#ctx0" brushRef="#br0" timeOffset="33973.9432">4974 13584 35 0,'-6'2'32'0,"1"1"-4"0,0-1 0 15,-1 1-4-15,0-1 0 0,0 2-4 0,-1-2 4 0,-1 1 0 0,2 0 0 16,-2 1-4-16,-1-1 0 0,2 0 0 0,-1 1 0 0,0-1 4 0,-2 0 0 0,1 1 0 16,0-1-8-16,-1 0 8 0,1 0 4 0,1 0-12 0,-2 0 16 0,2 0-4 15,0 0-4-15,0-1 4 0,0 1 0 0,1-1 0 0,-1 0-8 0,1-1 4 16,-1 1-4-16,1-2 4 0,0 0-8 0,0 0 0 0,-1 0-4 0,1-1 0 15,1 0 0-15,-1 0-4 0,0-2 0 0,0 1 4 0,0 0 4 0,1-1 0 0,0-1-4 16,-1 1-4-16,0-2-4 0,1 1 4 0,0 0 4 0,0-1-4 0,0 0-8 16,-1 1 8-16,1-2-4 0,0 1 0 0,0-1 4 0,0 0-4 0,-1 0-4 0,1-1 0 15,0 1 4-15,0-1-4 0,-1 0 4 0,2 0 0 0,0-1 0 16,-1 1 0-16,0 0 0 0,1-1-4 0,-1-1 4 0,1 1-4 0,-1 0 0 0,1-1 4 15,0 0 0-15,-1 0-4 0,0 0-4 0,2-1 4 0,-1 1 0 0,0-2 0 16,0 1 0-16,0 0 4 0,-1-1 0 0,1 0-4 0,0-1-8 0,0 2 4 0,1-2 4 16,-1 1 4-16,-1-2-8 0,1 2 4 0,1-1 0 0,-1 1 4 0,1-2-8 15,-1 2 4-15,0-1-4 0,1 1 4 0,0-2 0 0,0 2 0 0,0 0 0 16,1-2 0-16,-1 2 4 0,0-1-4 0,0 1 0 0,2-1 0 0,-2 0-4 15,2 0 4-15,0 0 0 0,0 1 0 0,0-1-4 0,0 1 0 0,2-1 4 0,-1 0 4 16,1 1-4-16,0-1 0 0,0 0 0 0,1 1 0 0,-1 0 4 0,2 0-8 16,-1-1 4-16,1 1 0 0,1-1 0 0,-1 1 0 0,2 0 0 0,0 0 0 0,0-1 4 15,0 0 0-15,1 0-4 0,1 1 0 0,-1-2-4 0,3 1 4 0,-1-1 4 16,1 1 0-16,0-1-4 0,1 0 0 0,0-1 0 0,0 1-4 0,2-1 4 15,-1 1 4-15,0-1-4 0,3 0 0 0,-2 1 4 0,0-2 0 0,2 1-4 16,0-1 0-16,0 2 0 0,-1-1 0 0,1-1 0 0,1 1 0 0,0 1 0 0,0 0-4 16,0 0 4-16,2 0 0 0,-2 1-4 0,1 0 0 0,0 0 8 0,0 1-8 15,0 1 0-15,1 0 4 0,-1 0-4 0,1 1 4 0,1 0-4 0,-1 1 0 16,0 2 8-16,1-2-4 0,-1 2 4 0,2 0 0 0,0 1-4 0,-2 0-4 0,3 1 4 15,-1 0-4-15,1 1 4 0,-1 0-4 0,2 0-4 0,-1 0 8 0,-1 0 8 16,3 2-12-16,0-1 4 0,-2 0 4 0,2 0-4 0,0 1 0 0,-1 0 0 0,2 0 0 16,-1 1 4-16,0-1-4 0,0 0 4 0,0 1-4 0,-1 0 4 0,1 1-4 15,0 0 4-15,-2-1-4 0,2 2 0 0,-1-1 4 0,-1 1-4 0,0 0 0 16,0 1 0-16,-1 0 0 0,0 0 0 0,-1 0 0 0,1 1-4 0,-1 0 8 15,0 0 0-15,-1 0 0 0,0 1-8 0,1 0 0 0,-3 1 8 0,0-1-4 0,2 2 0 16,-3-2 0-16,2 1 0 0,-2 0 0 0,1 0 4 0,-1 1-4 0,0 0 0 16,-1 0 0-16,0 1 0 0,0-1 0 0,0-1 4 0,-1 1-4 0,0 1 4 0,0-1 0 15,0 0 4-15,-1 0-8 0,0 1 4 0,0-1-4 0,0 0 0 16,-1 0 4-16,-1 0 0 0,1 0-4 0,-1 2 0 0,1-2 4 0,-1 0 0 0,-1 1-4 15,0 0 0-15,0-1 0 0,0 1 4 0,-1-1-4 0,1 2 4 0,-1-2-4 16,-1 1 4-16,0-1-4 0,1 1 0 0,-2-1 0 0,1 1 4 0,-1 0 0 0,0 0 0 16,-1-1 0-16,1 1-4 0,-1-1 4 0,1 1-4 0,-2-1 4 0,1 0 0 15,-1 1 0-15,0-1-4 0,0-1 0 0,0 1 4 0,0 0 0 0,-1 1-4 16,0-1 0-16,1-1 0 0,-2 1 4 0,0 0-4 0,1 0 4 0,0-2-4 0,0 2 4 15,-1 0-4-15,1-1 0 0,-1 1 0 0,0-2 4 0,0 2 0 0,0 0-4 16,0-1 4-16,-1 0-4 0,1 0 4 0,-1 1 0 0,0 0-4 0,0-2 0 0,0 2 0 16,0-1 0-16,-1 1 0 0,1 0 0 0,-1-1 0 0,0 1 4 0,0-1 0 15,0 2 0-15,-1-2-4 0,0 1 0 0,-1 0 4 0,1-1 0 0,1 1 0 16,-2 0-4-16,0-1 4 0,0 0-4 0,0 1 4 0,-1 0 0 0,-1 0-4 15,1 0 4-15,0 0 0 0,-1 0-4 0,0 0 0 0,0 0 0 0,-1 0 0 0,0 1 0 16,1-1 0-16,-1 0 0 0,-1 0 4 0,0 0 0 0,1 1 0 0,0-2 0 16,-2 2 0-16,2-1-4 0,-1 0 4 0,0 0 0 0,-1 0 0 0,1 1 0 0,0-1-4 15,-1 0 0-15,0 1 0 0,0 0 0 0,0-1 0 0,-1 0 0 16,1 0 0-16,0 1 4 0,-1 1 0 0,0-2-4 0,0 1 4 0,-1-1-4 0,2 1 0 15,-2 0 4-15,1 0 0 0,0-1-4 0,0 1 4 0,-1-1-4 0,0 0 0 16,2 1 4-16,-3-1-4 0,2 0 0 0,-1 1 4 0,0-1 0 0,0-1-4 0,0 1 4 16,0 0 4-16,0 0-4 0,1-1 0 0,-2 0-4 0,1 0 4 0,-1-1 0 15,1 2 0-15,0-2-4 0,0 0 4 0,0 1 0 0,1-3 0 0,-3 1 0 16,2 1 0-16,1-1 0 0,-2-1-4 0,1 1 0 0,-1-1 0 0,1-1 4 15,0 0 0-15,-1 1-4 0,1-1 0 0,-1 0 0 0,0 0 0 0,0-2 0 0,0 1 0 16,0 0-4-16,1 1 0 0,-2-2 0 0,1 0 0 0,-1 0-4 0,1 0 4 16,-1 0-4-16,1 0 0 0,0 1-4 0,-1-1 0 0,1 0 0 0,0 1 0 0,0-1 0 15,1 1-4-15,1-1 0 0,-2 1 0 0,1 0-8 0,1 1 4 16,-1-1 0-16,2 0 0 0,0 2-8 0,-1-2-4 0,2 1-8 0,0-1 4 0,1 1-12 15,-1-1-8-15,3 2-8 0,-1-3-4 0,1 3-32 0,0-3-12 0,0 0 8 16,2 0 12-16,0-2 16 0,1 0 8 0,-1-1 4 0,2 0 8 0</inkml:trace>
  <inkml:trace contextRef="#ctx0" brushRef="#br0" timeOffset="35019.0029">5646 12084 39 0,'2'-2'36'0,"-2"0"0"0,0 1-4 16,0 0 0-16,0-1-8 0,0 1 4 0,1-1-4 0,-1 2 0 0,0-1-4 15,0 0 0-15,0 1 0 0,0 0-4 0,0 0 0 0,-1 0 0 0,1 0-4 16,0 1 0-16,0 0-4 0,1-1 4 0,0 2 0 0,0 0 0 0,-1-1 4 15,1 1 0-15,0 1-4 0,0-1 0 0,1 0 0 0,-2 1-4 0,2 0 4 0,-1 0 0 16,0 0 4-16,1 1 0 0,0-1 4 0,-1 1-4 0,2 1-4 0,-2-1 4 16,2 0-4-16,-1 1 4 0,0 0 0 0,1 1 0 0,-1-1-4 0,1 0 4 0,-1 1 0 15,1 0-4-15,-1-1 0 0,0 2 0 0,1-1 0 0,-1 1-4 0,1 0 8 16,-1-1-8-16,1 1 8 0,-1-1-12 0,2 2 4 0,-1 0 0 0,0-1-4 15,0-1 4-15,0 2 0 0,0-2 0 0,0 1 0 0,0 1 0 0,0-1 0 0,0-1 0 16,2 1-4-16,-2-1 0 0,0 0 4 0,1 1-4 0,-1-2 4 0,0 0-4 16,0 1 0-16,1-1 4 0,-1 0-4 0,1 0 4 0,0-1-4 0,-2 0 0 0,1-1 0 15,0 1 0-15,-1-1-4 0,1 0 4 0,-1 0 0 0,1-1 0 16,-2 0 0-16,1 1-4 0,1-2 4 0,-2 1 0 0,1-1-4 0,-1 0 4 0,-1 0 0 15,1 0 0-15,0-1-4 0,-1 1 4 0,1 0 4 0,-1-1-8 0,1 0 4 16,-1 0 0-16,0 0 0 0,0 0 0 0,0 2 0 0,0-2 0 0,0 0-4 0,0 0 0 16,0 0 0-16,0 0 4 0,-1 0-4 0,1 0 0 0,0-2 0 0,0 2 0 15,1 0 4-15,-1 0-4 0,0 0 0 0,1 0 0 0,0 0 0 0,0 0 4 16,1-1-4-16,-1 0 4 0,1 1-4 0,-1-1 0 0,2 1 0 0,-1-1 0 15,2 0 4-15,-2 0-4 0,3-1 0 0,-1 1 0 0,0-1 0 0,1 0 0 0,-1 1 0 16,2-1 0-16,1 0 0 0,-1 0 0 0,0-1 0 0,2 1 0 0,-1 0 0 16,2-1 0-16,-1 0 0 0,1 0 0 0,1 0 0 0,-1 1 0 0,1-1 0 0,2 0 0 15,-2-1 0-15,0 1 0 0,3 0 0 0,-3-1 0 0,2 1 0 0,0-1 0 16,0 1 0-16,1-1 0 0,-1 1 0 0,0-1 0 0,1 0 0 0,-1 1 0 15,1-1 0-15,-2 1 4 0,1-1-4 0,0 1 0 0,0-2 0 0,-2 2 0 0,2-1 4 16,-1 0-4-16,0 0 0 0,-2 0 0 0,0 0 0 0,0 1-4 0,1-1 8 16,-1 0 0-16,-2 1-4 0,1 0 0 0,0-1 4 0,-2 1-4 0,0-1 0 0,0 1 0 15,0 0 0-15,-1 0 0 0,0 1 0 0,-2 0 0 0,1-1-4 16,-2 1 4-16,2 0 4 0,-2 1-4 0,0-1 0 0,1 1 0 0,-2 0 0 0,1-1 0 15,-2 2 0-15,1-1 0 0,0 1 0 0,-1-2 0 0,1 2 4 0,-1 0 0 16,1 0 0-16,-1 0-4 0,0-1 0 0,0 1 4 0,0 0-4 0,0 0 4 0,0 0-4 16,0 0 0-16,-1 0 0 0,1 1-4 0,0-1 4 0,0 0 0 0,0 0 4 15,0 0-4-15,0 0-4 0,-1 0 4 0,1 0 0 0,0 0 0 0,0 0 0 16,0 0 0-16,0 0 0 0,0 0 0 0,0 0 0 0,0 0 0 0,0-1 0 15,0 1-4-15,0 0 0 0,0 0 0 0,0 0 0 0,0 0-4 0,0 0-8 0,0 0 0 16,0 0 0-16,0 0-12 0,0 0 4 0,0 0-16 0,0 0 0 0,0 0-8 16,0 0-4-16,0 0-8 0,0 0-8 0,-1 0-24 0,0 0-20 0,1 0 8 0,0 0 12 15,-1 0 12-15,1 0 8 0,-1 0 8 0,0 0 8 0</inkml:trace>
  <inkml:trace contextRef="#ctx0" brushRef="#br0" timeOffset="37986.1726">8351 12039 47 0,'-2'0'44'0,"1"0"0"0,-1-2-4 16,0 2-4-16,0 0-4 0,-1-1-4 0,1 1 4 0,-1-1-4 0,1 1-4 0,-1-1 0 15,-1 1 4-15,1-1-4 0,0 0-4 0,-1 1 0 0,1 0-4 0,-1-2 12 16,1 1-16-16,-1 1 16 0,0-1-12 0,-1-1 4 0,2 2 4 0,-1 0 0 0,1 0-4 16,-1-1-4-16,0 0 4 0,1-1-4 0,-1 2 0 0,0-2 0 0,0 1 0 15,0-1-4-15,0 0-4 0,0 1 8 0,0-1 0 0,0 0-4 0,-2 0 4 16,1-1 0-16,0 1 0 0,0-2 0 0,0 2-4 0,0-1-4 0,-2 0 4 15,1 0 0-15,0 0-4 0,0 0 4 0,-1-1-8 0,0-1 4 0,-1 2 0 0,1-1 0 16,0 0 0-16,-2 0-8 0,1-1 4 0,0 0 0 0,0 1 0 0,-2-1 0 16,1 1 0-16,-1-1 0 0,0 0 0 0,0-1 0 0,0 1 0 0,-1 0-4 0,1 0 4 15,0-1-4-15,-1 0 4 0,0 1-4 0,1 0 4 0,-1-2-4 0,0 2-4 16,1-1 8-16,-1 1-4 0,0-1 0 0,0 0 4 0,0 0 0 0,0 0 0 15,-1 0 0-15,2 0-4 0,-1 0 4 0,-1 0-4 0,1 1 4 0,0-1-4 0,-1 0 0 16,1 1 0-16,1-1 0 0,-2 1 0 0,1-1 0 0,2 1 0 0,-2-1 0 16,1 1 0-16,-1-1 0 0,1 0 4 0,0 2-4 0,1-1 0 0,-1-1 0 0,0 0 4 15,1 1-4-15,-1 1 0 0,2-2 0 0,-1-1 0 0,0 2 4 16,2 0-4-16,-1 0 0 0,1-2 0 0,-1 2 0 0,0 0 0 0,2 0 0 0,0 0 0 15,-1-1 0-15,1 0 0 0,1 2 0 0,-1-2 0 0,1 2 4 0,0-1-4 16,-2 0 4-16,3 1-4 0,-1-1 0 0,1 1 0 0,-1-1 0 0,0 2 0 0,1-2 0 16,-2 2 0-16,2 0 4 0,-1-1-4 0,1 0 0 0,-1 1 0 0,1 1 0 15,0-1 0-15,-2-1 4 0,2 1-4 0,-1 1 0 0,1 0 4 0,0-1 0 16,-1 0 0-16,1 0 0 0,-2 1-4 0,1-1 0 0,1 0 4 0,-1 0 0 0,0 0-4 15,0 1 0-15,0-1 4 0,0 0-4 0,0-1 4 0,0 1-4 0,0-1 0 16,0 1 4-16,-1 0-4 0,1-1 4 0,0 1 0 0,0-1 0 0,0 1-12 0,0-1 12 16,0 0 0-16,0 2 0 0,1-3-4 0,-1 3 4 0,1-3 0 0,0 3 0 15,0-1-4-15,-1 0 0 0,1-1 4 0,1 1 0 0,-1 0 0 0,0 1 0 16,1-2-4-16,1 2 4 0,-2-1-4 0,2 0 0 0,-2 1 4 0,2 0-4 15,0 0 0-15,0 0 0 0,0-1 4 0,1 1 0 0,-1 0-4 0,0 0 4 0,1 0-4 16,-1-1 0-16,0 2 4 0,2-1-4 0,-2 0 0 0,0-1 0 0,1 2 0 16,0-2 4-16,-1 1-4 0,1 1 0 0,-1-1 0 0,0-1 4 0,0 1 0 0,1 0-4 15,0-1 4-15,-1 2-4 0,1-1 0 0,-1 0 4 0,0 0 0 16,2 1-4-16,-2-1 0 0,0 0 0 0,2 1 4 0,-2-1 0 0,1 0 0 0,-1 1-4 15,2 0 0-15,-2 0 0 0,1 0 0 0,0-1-4 0,1 2 4 0,-1-1 0 16,-1 0 0-16,0 0 4 0,1 0 0 0,1 1-4 0,-1 0 4 0,0-1-4 0,0 0 0 16,0 0 0-16,1 1 0 0,-1-1 4 0,0 1-4 0,-1-1 0 0,1 1 0 15,1-2 0-15,-1 2 4 0,-1-1-4 0,1 1 0 0,1-2 4 0,-2 2-4 16,0-1 0-16,1 0 0 0,0 0 4 0,-1 0-4 0,0 0 0 0,1-1 0 15,0 2 0-15,-1-1 0 0,1 1 0 0,-2-2 0 0,1 1 0 0,1-1 0 0,-1 2 0 16,1-2 0-16,0 2 0 0,-1-1 0 0,1 1 0 0,0-2 0 0,0 2 0 16,-1-1 0-16,1 1 0 0,1 0 0 0,-1 0 4 0,0-1-4 0,0 1 0 0,0 0 0 15,0 0 0-15,1 0-4 0,0 0 4 0,-1 0 0 0,1-1 0 0,0 1 0 16,-1 0 0-16,1 0 0 0,0 0 0 0,0 0 0 0,0 0-4 0,-1 0 0 15,1 0-4-15,0 0 0 0,0 0 0 0,0 0-4 0,0 0-8 0,0 0 0 0,0 0-8 16,0 0 0-16,0 0-8 0,0 0 0 0,0-1 0 0,0 1-12 0,1 0-8 16,-1 0 0-16,1 0-4 0,0 0 0 0,-1 0 0 0,0 0-28 0,0 0-8 15,0 0 0-15,0 0 4 0,1 0 12 0,0 0 12 0,-1 0 8 0,1 1 4 16</inkml:trace>
  <inkml:trace contextRef="#ctx0" brushRef="#br0" timeOffset="38377.1948">7209 11383 39 0,'-1'-2'36'0,"0"0"0"0,1 1-4 16,-1-1 0-16,0-1 0 0,1 2-4 0,-1-2 0 0,0 1 0 0,0 0 0 0,0 1 0 15,1-1 0-15,0 1 4 0,0 0 4 0,-1 0-8 0,1 0-4 0,-1 0 0 16,1 1 12-16,-1-2-12 0,0 2 4 0,1 0-4 0,-1 0 0 0,1-1 0 0,-1 1-4 16,-1 1-4-16,1-1 4 0,1 0-4 0,-1 2-4 0,-1-1 8 0,1 1-8 15,-1 0-4-15,2 0 4 0,0 1-4 0,-1 0 0 0,0 0 4 0,0 0 0 16,0 2-4-16,1 0 0 0,-1 0 0 0,1 0 4 0,0 0-8 0,-1 1 4 0,1-1 0 15,-1 1-4-15,1 0-8 0,0 0 12 0,-1 0 0 0,1 1-4 0,0-1 0 16,0 1 0-16,-1-1 4 0,1 1-8 0,0-1 4 0,0 0 4 0,0 0-8 16,0 1 4-16,0-2-4 0,0 1 8 0,0 0-8 0,0-2 0 0,0 0 0 0,0-1 4 15,0 1-4-15,0-1 0 0,0 1-4 0,0-2 12 0,1 0-12 0,-2 0 0 16,1 0 8-16,0 0-8 0,1-2 4 0,-1 1 0 0,0-1 0 0,1 2 0 15,-1-2-8-15,1 0 0 0,-1 0 4 0,1 0-4 0,0 0-4 0,-1-2-8 0,0 2 0 16,1-1 0-16,0-1 0 0,0 0-8 0,0 1-8 0,-1-1 0 0,3-1 0 16,-2 2-4-16,1-3-4 0,-2 1 0 0,2 0-4 0,-1 0-20 0,0-2-12 0,1 2-4 15,-1-1 8-15,1-1 4 0,-1 0 8 0,0 0 8 0</inkml:trace>
  <inkml:trace contextRef="#ctx0" brushRef="#br0" timeOffset="38759.2169">7211 11320 15 0,'-1'-1'36'0,"0"0"0"0,0-1 0 16,0 1-8-16,0 0 4 0,1-1 0 0,-1 1-4 0,1 1-4 0,-1-1 0 16,1 0-4-16,0 1 0 0,-1 0 0 0,1 0-4 0,0-1 0 0,0 1-8 0,0 0 4 15,-1 0-4-15,1 0 0 0,1 0 0 0,-1 0 0 0,1 0-4 0,-1 0 4 16,1 0 0-16,0 0-4 0,0 0 4 0,2 0 0 0,-2 0 0 0,2 0 0 15,-1 0 0-15,2 0 0 0,0 0 0 0,0 0 4 0,0-1-4 0,1 1 0 16,1-1 0-16,-2 0 0 0,4 0-4 0,-1 0 12 0,0 1-12 0,1-2 0 0,1 0 4 16,0 1 4-16,0 0 0 0,2 0 0 0,-1-1 0 0,1 1 0 0,0-1 0 15,0 0-4-15,0 1 4 0,1-1 4 0,0 1-8 0,-1 0 0 0,1 0 4 16,-1-1-4-16,2 0 4 0,-3 1 0 0,1-1 0 0,1 2-4 0,-2-2 0 0,0 1 0 15,1 1 4-15,-2-1 4 0,0 0-4 0,0 1 4 0,-1 0-4 0,0-2 0 16,-2 2 4-16,2 0 0 0,-2 0-4 0,-1 0 0 0,1 0 4 0,-1 0-4 0,-1 0 0 16,1 0-4-16,-2 0 4 0,1 0 0 0,-1 0 0 0,-1 0-4 0,0 0 4 15,0 0-4-15,0 0 0 0,0 0-4 0,-2 0 0 0,1 0 4 0,0 0-4 16,-1 0 0-16,1 0 4 0,-1 0-8 0,1 0 4 0,-1 0 0 0,0 0 0 15,0 0 0-15,0 0-4 0,0 0 0 0,-1 0 0 0,1 0 0 0,-1 0 0 0,1 0-4 16,-1 0-8-16,0 0-8 0,1 0-12 0,-1 0-12 0,-1-1-4 0,1 1-12 16,0-1-12-16,-1 1-8 0,0-1-32 0,1 0 0 0,-1 0 8 0,1 1 12 0,-1-2 12 15,0 1 8-15,1-2 4 0,-2 2 12 0</inkml:trace>
  <inkml:trace contextRef="#ctx0" brushRef="#br0" timeOffset="40642.3246">9253 10931 11 0,'0'1'52'0,"0"0"-4"0,0 1-4 0,0-2-4 16,0 2 0-16,-1-1-4 0,1 1 0 0,0-1 4 0,0 1-4 0,-3 1 4 15,2-1-16-15,0 1 8 0,-2 0-4 0,1 1 0 0,0-1 0 0,-1 1 0 16,1 0 4-16,0 1-8 0,-2 0-4 0,2 0 0 0,-1 0-4 0,-2 0 8 0,3 2 4 15,-1-1-8-15,0 1-4 0,1-2 4 0,-2 1 0 0,2 0 0 0,-1 2-4 16,1-1 4-16,0 0-4 0,-2 0 0 0,2 0 4 0,-1 0-4 0,1 0 0 16,-1 0-4-16,2 1 4 0,-2 0 0 0,2-1-4 0,-2 1 0 0,1-1 4 15,1 2-4-15,-1-1 0 0,1 0 0 0,-1 1-8 0,0-1 4 0,1 0 4 0,0 2 0 16,-1-2-4-16,-1 1 0 0,3 0 0 0,-2-1 0 0,0 1 0 0,2 1-4 15,-2-2 0-15,0 2 4 0,1-1-4 0,0 0 4 0,-1 1 0 0,1-1-4 0,-1 1 0 16,0 0-4-16,1-1 4 0,-2 1-4 0,1 1 0 0,0 0 0 0,0 1 0 16,-3-3 4-16,3 4-4 0,-1-3 0 0,-1 2 0 0,1 0 4 0,0-1 0 15,0 1 0-15,-1 0-4 0,0 0 0 0,0-1 4 0,1 2-4 0,-2-1 0 16,1 0 0-16,1 0 4 0,-1 1-4 0,0-1 4 0,1-1-4 0,-2 1 0 0,1 0 0 15,0-1 0-15,1 0 0 0,0 0 0 0,-1 0 0 0,1-1 0 0,1 0 0 16,-2 0 4-16,1-2-8 0,1 0 4 0,0 1 0 0,0-2 0 0,1 0 0 0,-1 0 0 16,1-2 0-16,0 0-4 0,0 0 4 0,1-1 0 0,-1 1 0 15,1-2 0-15,-1 0 0 0,1 0 0 0,-1-2 0 0,1 2 0 0,0-1 0 0,0-1 0 16,0 1 0-16,-1-1 0 0,1 0 0 0,0-1-4 0,0 1 4 0,1-1 0 15,-1 1-4-15,0-1 0 0,0 0 0 0,0 0 0 0,0 0 0 0,0 0 0 0,0 0 0 16,-1 0 0-16,1 1 0 0,0-1 4 0,-1 0-4 0,0 0 4 0,1 1 0 16,-1 0-4-16,0 0 0 0,0-1 0 0,1 1 4 0,0 0 0 0,-1-1 0 15,0 2-4-15,1-2 0 0,-1 1 4 0,1 1-4 0,0-2 0 0,-1 1 4 16,1-1 0-16,-1 1-4 0,1-1 0 0,0 0 4 0,0 1-4 0,0 0 4 0,-1-1 0 15,1 1-4-15,-1-1-4 0,2 0-4 0,-1-1 0 0,1 0-4 0,-1 0-4 16,0 0 0-16,1 0-8 0,0-1-8 0,0 1 12 0,0-2-4 0,0 1-12 0,0 0-4 16,0-1-8-16,0 1 0 0,1-1 0 0,-2 0 0 0,1-1-4 15,0 1-12-15,0-1-12 0,0 1-8 0,0-1 4 0,0-1 4 0,0 2 8 0,0-2 12 16,0 1 0-16</inkml:trace>
  <inkml:trace contextRef="#ctx0" brushRef="#br0" timeOffset="41190.3559">8956 11551 39 0,'-2'0'40'0,"1"0"-8"0,0-1 0 16,-1 0-4-16,0 1-4 0,1 0 0 0,-1 0-4 0,-1 0 0 0,2 1 0 0,-1-1-4 16,1 1 0-16,0 1 0 0,-1 0 0 0,1-1 0 0,0 2 0 15,1-2 0-15,-1 3 4 0,0-2 0 0,2 3-4 0,-1-1 4 0,1-1 0 0,-1 2 0 16,1 0 4-16,1 0-12 0,0 1-4 0,-1 0 12 0,1-1-4 0,1 2 0 15,-1-1-4-15,0 1 0 0,1 0 0 0,-1 0 0 0,1 1-4 0,0 1 4 0,-1-1 0 16,1 1 0-16,-1-1 0 0,2 0 0 0,-2 1 4 0,2-1-8 0,-2 0 0 16,1 1-4-16,0-1 4 0,-1 0 0 0,1 1-4 0,-2-2 0 0,2 1 0 15,-1 0 0-15,0-2-4 0,-1 1 8 0,2 0 0 0,-1-1-8 0,0 1-4 16,0-2 8-16,-1 2 8 0,1-2-12 0,0 1 4 0,-1-2-4 0,1 1 0 0,0 0 0 15,-1-2 8-15,1 1-4 0,0 0 4 0,0-1-4 0,0-1 0 0,0 0 0 16,1-1 0-16,-1 1 8 0,2-2 0 0,-2 2-4 0,1-2 0 0,1-2 4 0,0 2-4 16,-1-2 4-16,2 1 0 0,-1-2 0 0,2 0-4 0,-1 0 0 15,0-1-4-15,1 0 0 0,0-1 0 0,2-1 0 0,-2 0 4 0,1 1-4 0,0-2 0 16,0 0 0-16,3 0 0 0,-3-1 0 0,1 1-4 0,1-2 4 0,0 1 0 15,-1 0-4-15,0-2 4 0,1 2 0 0,-1-1 0 0,0 0-4 0,1-1 4 0,0 2 0 16,-2-2 0-16,1 1-4 0,0 1 4 0,0-1-4 0,-1 1 0 0,-1 1 4 16,1-1-4-16,0 0 0 0,-3 2 0 0,2 1 0 0,-2-2 0 0,1 1 4 15,-1 1 0-15,1 1-4 0,-2-1 4 0,0 2 0 0,0-1-4 0,-1 2 4 0,1-1-4 16,-2 1 0-16,0 0 0 0,1 0 0 0,-2 1 4 0,1 0-4 0,0-1 0 15,0 2 4-15,-1 0-4 0,0 0 0 0,0 0 0 0,-1 0 0 0,0 2-4 0,1-2 0 16,-1 0-4-16,1 1 0 0,-1 0-4 0,0-1-4 0,0 1-8 0,0-1 0 16,1 1-8-16,-1 0-12 0,0-1-8 0,1 1-8 0,-1-1-4 0,0 0-8 15,1 1-24-15,-1-1-8 0,1 0 8 0,0 1 4 0,-1-1 16 0,1 0 8 16,0 0 4-16,-2 0 12 0</inkml:trace>
  <inkml:trace contextRef="#ctx0" brushRef="#br0" timeOffset="43433.4842">5819 13734 27 0,'-4'-4'28'0,"0"0"-4"0,1 0 0 0,1 1 0 16,-2-2-4-16,1 0 0 0,0 2-4 0,0-2 4 0,1 1-8 0,0 0 0 15,0-1 0-15,0 1 0 0,0 0 4 0,1-1 0 0,-2 2-4 0,2-1 0 0,-1-1 0 16,1 1 0-16,-1 0 4 0,1 1 0 0,-1-1 0 0,0 2 0 0,2-1 0 15,-1 0 0-15,-1-1-4 0,2 2 4 0,-1 0 0 0,0 0 0 0,1 0-4 16,0 0 4-16,0 1-8 0,-1 0 0 0,1 0 0 0,0 1 0 0,0 0-4 0,-1-1 0 16,1 1 4-16,1 0-4 0,-1-1 4 0,1 1-4 0,-1 1 0 0,1-1 4 15,0 1-8-15,1-1 4 0,-1 0 4 0,3 1-8 0,-2 1 4 0,1-1 0 0,0 1 4 16,1-1-4-16,0 1 0 0,0 0 8 0,1 0-12 0,1 2 8 0,0-1-4 15,0 0 4-15,2 1 0 0,0-1 0 0,1 2-8 0,1 0 8 0,0 0-4 16,1-1 4-16,1 2 4 0,1 0-4 0,0 0 4 0,1 2-8 0,1 0 8 16,1 0-4-16,0 0 0 0,1 0 0 0,-1 2 0 0,2 0 0 0,0-1 0 0,0 2 0 15,0-1 4-15,1 0-4 0,1 2 0 0,-2-1 0 0,1 1 0 0,0-1 0 16,0 1 0-16,0 1-4 0,0-1 8 0,0 1 0 0,0-1 0 0,-2 1-4 0,2-1 4 15,-2 2 0-15,0-1 0 0,0 1-4 0,-1-1 4 0,0 1-4 16,0-1 4-16,-2 1-4 0,2-2 0 0,-2 4 0 0,0-4-4 0,-1 2 4 0,1 0 0 16,-1 0 0-16,0 0 0 0,-1-1 0 0,0 1 0 0,0-2-4 0,0 3 0 15,-2-3 0-15,2 0 0 0,-2 0 0 0,0 0 0 0,0-1 0 0,-1 1 0 0,0-3 0 16,1 2 0-16,-1-1 0 0,-1 0 0 0,1-2 0 0,-2 0 0 0,1 0 0 15,-1 0 0-15,0-1-4 0,0-1 4 0,-1-1 0 0,0 0 0 0,-1 0 0 16,0-1 0-16,0 0 0 0,-1-1 0 0,-1-1 0 0,0 0 0 0,1 0 0 0,-2-1 4 16,0 0 0-16,0 0 0 0,-1-1-4 0,1 0 0 0,-2 0 0 0,1 0-4 15,-1-1 4-15,0 0-4 0,0 1 0 0,-1-2 0 0,1 0 4 0,-1 1-4 16,-1-1 0-16,0 0-4 0,1 1 0 0,-2-2 0 0,2 1-4 0,-2 0-4 15,1-1-8-15,-1 0 0 0,0 1-4 0,0-3-12 0,-1 3-8 0,0-3-8 0,1 1-4 16,0 1-8-16,-1-2-4 0,0 0 0 0,0 0-12 0,0 0-16 0,-1-1-8 16,1 1 4-16,0-1 12 0,0 0 12 0,-1 1 8 0,1-1 8 0,0 0 12 0</inkml:trace>
  <inkml:trace contextRef="#ctx0" brushRef="#br0" timeOffset="43851.5081">6372 14205 7 0,'-5'2'44'0,"1"-1"-8"0,-1 0 0 16,0 0-4-16,0 0-4 0,1 1-4 0,0-2 0 0,1 2-4 0,1-2-4 0,-1 1 0 15,1 1 0-15,0-2-4 0,0 0 0 0,2 1 0 0,-2-1-4 0,2 1 0 16,0 0 4-16,2-1 0 0,-2 1-4 0,1 1 4 0,2-1 0 0,-1 1 4 15,1 0-4-15,1-1 0 0,0 2 4 0,1 0 0 0,0 0-4 0,3 0 4 16,-2 0 0-16,2 0-4 0,-1 2 4 0,2 0-4 0,0 0-8 0,0 0 8 0,1 0 0 16,0 0 4-16,0 0-12 0,2 1 4 0,-2 0 0 0,1-1 0 0,2 0 0 0,-2 1 0 15,0-1 0-15,3-1 8 0,-3 2-12 0,3-1 4 0,-3 0-8 0,1-2 4 16,1 1 4-16,-2 0 8 0,2-1-8 0,-2 0 4 0,1 0-4 0,-1-1 4 15,0 0 0-15,-1 0 4 0,1 0 0 0,-2-2-4 0,0 1 4 0,1-1 8 16,-2-1 0-16,0 1-4 0,-1-1 0 0,1-1 0 0,-2 0 0 0,1 0-4 0,-1-3 4 16,-1 1-4-16,1 0 0 0,-1-1 0 0,-1-1-4 0,0-1 4 0,-1-1-4 15,-1 0 0-15,1-1-4 0,-1-1 4 0,-1-1-4 0,0 0 0 0,-1-1-4 16,0-1 0-16,-1-1 4 0,0 2 0 0,0-3-4 0,-2 1 0 0,2-2 0 15,-3 1 0-15,2 0 0 0,-1-1 0 0,-1 0-4 0,0 0 0 0,0 0 0 0,-1 1 0 16,1-1 0-16,-1 1 0 0,1 0-4 0,-1 0-4 0,1 1 0 0,-1 1-4 16,0 1-8-16,0-1-4 0,1 1-8 0,-1 1 0 0,2 1-12 0,-2 0-8 0,0 0-8 15,1 3 0-15,1 0 0 0,0 0-8 0,0 1-8 0,1 0-24 0,-1 0 0 16,3 2 4-16,-2 0 12 0,0 0 12 0,2 0 8 0,-1 1 4 0</inkml:trace>
  <inkml:trace contextRef="#ctx0" brushRef="#br0" timeOffset="45647.6109">7969 13543 11 0,'2'-4'56'0,"0"-1"-4"0,-1 1-4 0,1 1-4 16,-1-1-8-16,0 2 0 0,-1 0 0 0,0 1 0 0,0-2 0 0,0 2-4 15,0-1 0-15,-1 2-4 0,0 0-4 0,-1 0-4 0,1 0 12 0,0 2-8 16,-2-1 4-16,2 0 0 0,-2 1-4 0,1 1 0 0,-1-1 0 0,-1 2 0 0,1-1-8 16,0 1 0-16,-2 1 8 0,2-1-4 0,-2 3-4 0,1-2-4 0,-2 3 0 15,0-1 4-15,1 2-4 0,-1-1-4 0,0 2 4 0,0 0 0 0,-2 1-4 0,1 0 0 16,0 1 0-16,0 0 0 0,-2 3 0 0,1-3-4 0,1 3 0 15,-1-1-4-15,-1 1 0 0,0 0 4 0,2 0-4 0,-1 1 4 0,-1-1 0 0,1 0-4 16,1 0 4-16,0 0 0 0,-1 1 0 0,1-1 0 0,0-2-4 0,1 1 4 16,-1-1-4-16,1 0 4 0,1-1 0 0,0 0-8 0,0-2 4 0,1 1 0 0,-1-1 4 15,1-2-4-15,1 1 0 0,-1-2-4 0,2 0 0 0,-1-1 4 0,2 0 0 16,-1-2 0-16,1 1-4 0,0-1 0 0,0-1 0 0,0-1 0 0,1 1 0 15,-1-2 0-15,1 1 0 0,-1-1-4 0,1 0 0 0,0 0 4 0,0 0-4 16,0-1-4-16,0 1 4 0,0-1-4 0,0 0-4 0,0 0 0 0,0 0-4 0,0 1 4 16,0-1-8-16,0-1 0 0,0 0 0 0,0 1 0 0,1-2-4 0,-1 1 0 15,0 0 0-15,1-2-4 0,-1 0 0 0,1 1-4 0,0-1-4 0,0 0-4 0,-1 0 4 16,1-1-12-16,0 1-20 0,0-1-16 0,0 0 16 0,0 1 12 15,0-1 4-15</inkml:trace>
  <inkml:trace contextRef="#ctx0" brushRef="#br0" timeOffset="46058.6343">7627 13785 31 0,'-4'-3'36'0,"2"-1"-4"0,-2 1-4 0,2 1 0 0,-1-1-4 16,1 1-4-16,0-2 0 0,0 3 0 0,-1-1 0 0,2 0 0 0,-1 1-4 15,1 0-4-15,-1 1 4 0,1 0 0 0,0 1 0 0,0-1 0 0,0 3-4 16,1-1 4-16,-1 1 0 0,1 1-4 0,0 1 4 0,1-1-4 0,-1 2 0 0,1 0-4 16,-1 1 0-16,1 0 4 0,-1 1-4 0,1 1 4 0,0-1-8 0,0 3 4 15,-1-2 4-15,1 2-4 0,-1-1 4 0,0 1-4 0,1 0 4 0,-1 1 0 0,1-1-12 16,-1 1 12-16,1 0 0 0,-1 0-4 0,1 1-8 0,-1-2 12 15,0 1-16-15,0-2 16 0,0 2-8 0,0-1 0 0,0-2-8 0,0 1 12 0,0-2-12 16,0 0 12-16,1-1-12 0,0 0 12 0,1-1-8 0,-1 0 12 0,2-1-8 16,-2-1 4-16,2 0 0 0,2-1 4 0,-1 0 0 0,1-2-8 0,0 0 4 0,1-1 0 15,-1 0 0-15,3-1 0 0,-1 0 0 0,1-2-8 0,0 0 8 0,2-1-4 16,-1 0 4-16,0-1 4 0,3-1-4 0,-2 0-4 0,1 0 0 0,1-1 0 15,0 0 4-15,1 0-8 0,0 0 0 0,-1 0 4 0,1-1 0 0,0 1 0 16,0-1-4-16,0 0 4 0,-1 1-4 0,1-1 0 0,0 1 4 0,0 0 0 0,-2-1-4 16,1 0 0-16,-1 2 0 0,0-1-4 0,1 1-4 0,-2 1 8 0,-1-1 0 15,0 2 0-15,0 0 0 0,-1 0-4 0,0 1-4 0,0 0 8 0,-2 1-8 0,1 0-8 16,-1-1 0-16,-1 3-4 0,0-1-8 0,1 1-4 0,-2 0-8 0,-1 0-4 15,1 0-8-15,-2 1-16 0,1-1-20 0,-2 0 0 0,1 2 4 0,0-1 8 16,-2 0 12-16,1 0 8 0</inkml:trace>
  <inkml:trace contextRef="#ctx0" brushRef="#br0" timeOffset="58574.3502">12234 11097 15 0,'3'-5'44'0,"1"0"-4"0,-1 1-4 0,0 0-4 0,1 1 0 0,1 1 0 0,0 1-8 16,1 1-4-16,2 0-4 0,-2 1 4 0,2 1-4 0,0 0 0 0,1 2-4 15,0 1 0-15,0 0 0 0,2 0 0 0,-1 2 0 0,1-1-4 0,0 1 0 16,0 1 0-16,0-1 4 0,3 2-4 0,-2 0 0 0,2-1 0 0,-1 2 0 0,1 0 0 15,0-1 4-15,1 2-4 0,-2-1 4 0,1 1 4 0,-1-1-4 0,0 0 4 16,1 0 4-16,-4-1-4 0,1 2 0 0,0-1 4 0,-3 0 4 0,-1-1-4 0,0 1 0 16,-1 0 0-16,-2 0 0 0,-1-1 0 0,-1 1 0 0,-1 1-4 0,-2-1 0 15,-1 1 0-15,0-1 0 0,-2 0-4 0,-2 2 4 0,-1-1-4 0,1 0-4 16,-3 0-4-16,-1 0 4 0,-1 0 0 0,0 1-4 0,-3-1 0 0,0-1-4 15,-1 2 0-15,-1-1-4 0,-1 0 4 0,-1-1 0 0,-1 0 0 0,0 1-4 0,1-3 4 16,-2 0-8-16,1 1 0 0,-2-1-8 0,1-2-8 0,2 1-8 0,-2-2-12 16,0 0-8-16,3-1-12 0,-2 0-20 0,3 0-20 0,-1-2 4 0,2-1 12 0,0 0 8 15,1 0 8-15,1-1 8 0,1 0 8 0</inkml:trace>
  <inkml:trace contextRef="#ctx0" brushRef="#br0" timeOffset="61651.5262">10998 11546 19 0,'-4'-2'40'0,"2"2"0"0,-1-1-8 16,1 0-4-16,-1 0 0 0,2-1 0 0,-2 1-4 0,2-1 0 0,-1 0-4 0,-1 1 4 16,2-2-4-16,-1 2 0 0,1-2-4 0,0 2 4 0,-1-2 0 0,1 2 0 15,0-1 0-15,0 0 4 0,0 1 0 0,-1 0-8 0,2 0 4 0,-1 1 0 16,1-2 0-16,-1 2-4 0,1 0 0 0,0 0 0 0,1-1-4 0,-1 1 0 0,1 0-8 15,-1 0 0-15,0 0-4 0,0 0-4 0,0 0 8 0,1 0 4 0,-1 0-8 16,1-1 4-16,0 1 0 0,-1 0 0 0,0 0 0 0,0 0 4 0,1 0-8 0,-1 0 0 16,0 0 8-16,0 0-8 0,1 0-4 0,0 0-4 0,0 0 8 15,0 0 0-15,0 0 0 0,-1 0 4 0,2 0 0 0,0 0-4 0,0-1-4 0,0 1 8 0,0 0 4 16,0 0-4-16,0-2-8 0,0 2 12 0,1 0-12 0,-1-1 4 0,1 0 0 15,0 0 8-15,0 1 0 0,0 0-4 0,2-1-8 0,-1 0 0 0,0-1 12 16,0 1 0-16,0 0 0 0,1 0-8 0,0-2 4 0,1 3 0 0,-1-2-4 16,0 1-4-16,-1-1 4 0,2 0 0 0,-1 1 4 0,2-1-4 0,-1 0-4 0,-1 0 0 15,0 0 8-15,1 0 0 0,1 1-4 0,-2-1 0 0,1 1 4 0,1-2 0 16,-2 2 0-16,2-1 0 0,-1 1 0 0,0 0 4 0,-1-1-12 0,1 0 8 0,1 1-4 15,-1-1 4-15,-1 1 0 0,1 0 0 0,0 0 0 0,0 0 0 16,-1 1 0-16,0-1 4 0,1 0-4 0,-1 0-4 0,0 1 4 0,0-1 0 0,1 1 0 16,-1-1 0-16,0 1-4 0,-1 0 0 0,1 0 8 0,0-1-8 0,1 1 0 15,-1-1 0-15,1 1 0 0,-1 0 4 0,0 0 0 0,1 0-4 0,0-2 0 0,0 2 0 16,0 0 4-16,-1-1-8 0,3 1 8 0,-2 0-8 0,0-1 4 0,1 1 0 15,-1-1 8-15,2 1-8 0,-1 0 0 0,1 0 4 0,-1-1 0 0,1 1-8 16,0-1 4-16,0 1 4 0,-1-1-4 0,2 0 0 0,0 1 0 0,-1-1 4 16,1 1-4-16,0 0 4 0,0-1 0 0,-1 1 0 0,2 0-4 0,-1-1 0 0,-1 0-4 15,3 1 8-15,-2 0 0 0,-1 0 0 0,1-1-4 0,1 0 4 0,-1 0 0 16,0 1-4-16,1-1-4 0,-2 0 8 0,1 1-4 0,0-2 4 0,0 1-8 0,0-1 8 15,-1 2-4-15,2-2 0 0,-2 2 0 0,0-2 0 0,0 1 0 16,1 0 4-16,-1 0-8 0,-1 0 12 0,0 0-8 0,2 1 8 0,-2-2-4 0,0 1 4 16,-1 0-12-16,3 0 12 0,-3 1-12 0,1-1 4 0,-1 0-4 0,0 1 4 15,2-1 0-15,-3 0-4 0,1 0 4 0,1 1 0 0,-2 0 0 0,2-1 0 0,-1 1 4 16,0-1-4-16,0 0 0 0,0 1-4 0,1 0 12 0,-2-2-4 0,1 2-4 15,1-1 4-15,-2 1 4 0,2-1-4 0,0 0-4 0,-2 1 4 0,1-2-4 16,0 1 0-16,1 0-4 0,-1 1 4 0,0-1 0 0,0-1 4 0,-1 2 0 0,2-2-4 16,-1 1-4-16,0 1 4 0,-1-2 4 0,1 1-4 0,0 0 0 0,0 0 0 15,-1 0 0-15,-1 0 0 0,1 1 0 0,0-1 4 0,1 1 0 0,-1-2-4 0,0 2 0 16,-1 0 0-16,1 0 4 0,-1 0-4 0,2-1 0 0,-2 1 0 15,1-1 0-15,-1 1 0 0,0-1 4 0,1 0 0 0,-1 1-4 0,2 0 4 0,-1-1 4 16,-1 1-8-16,1-1-4 0,0 0 4 0,0 1 0 0,1 0 4 0,-1-1-4 16,0 1 0-16,0-1 4 0,0 1-8 0,0 0 4 0,1-2 4 0,-1 2-4 0,1-1 0 15,-1 1 0-15,0 0 0 0,0-2 0 0,2 2 0 0,-2-1 0 16,1 0 4-16,-1 1-4 0,0 0 4 0,0 0 0 0,1-1-4 0,-1 1 4 0,0-1 0 0,1 1-8 15,-1-1 0-15,1 1 4 0,-1 0 4 0,0 0 0 0,0 0-4 16,0 0 0-16,0 0 0 0,2-2 0 0,-2 2 0 0,0 0 0 0,0 0 4 0,0-1-4 16,1 1 0-16,0 0 0 0,0 0 0 0,-1 0 4 0,0 0-4 0,0 0-4 15,2-1 0-15,-2 1 0 0,1 0 4 0,-1-1 0 0,0 0 0 0,0 1 0 0,2 0 4 16,-2 0-8-16,1-1 4 0,-2 1 0 0,2 0 0 0,-1 0-4 0,1 0 0 15,-1 0 0-15,0 0 8 0,0 0-4 0,0 0 0 0,0 1 0 0,1-1 0 16,-2 0-4-16,1 1 4 0,-1 0 0 0,1-1 0 0,-1 1 0 0,2-1 4 0,-1 0-4 16,-1 0 0-16,1 0-4 0,0 0 4 0,-1 0 4 0,1 1 0 0,1-1 0 15,-1 0-4-15,0 0-4 0,0 0 4 0,0 0 0 0,0 0-4 0,1 0 0 0,-1 2 4 16,-1-2 4-16,1 0-4 0,0 0-4 0,0 0 4 0,1 0 4 0,-1 0-4 15,0 0 0-15,0 0-4 0,0 0 0 0,0 0 4 0,0 0 0 0,0-2-4 16,0 2 4-16,-1 0 0 0,0 0 0 0,1 0 0 0,0 2 0 0,-1-2 0 16,0 0 0-16,0 0-4 0,0 0 8 0,-1 0 0 0,2 0 0 0,-1 1-4 0,0-1 0 15,0 0 0-15,-1 0 4 0,1 0-4 0,0 0 0 0,-1 1 0 0,1-1-4 16,-1 1 4-16,2-1 0 0,-2 0 0 0,0 0 0 0,0 0 0 0,1 0-4 15,-2 0 4-15,1 0 0 0,1 1 0 0,-2-1 4 0,1 0 0 0,1 0-4 16,-2 0 0-16,2 0 4 0,-3 0-8 0,2 0 4 0,-1 0 0 0,1 0 0 0,-2 0 0 16,1 0-4-16,0 0 4 0,-1 0-4 0,1 0 4 0,-1 0-4 0,0 1 4 15,0-1 0-15,0 0-4 0,0-1 0 0,-1 1 0 0,2 0-4 0,-2 0 0 0,0 0-8 16,0 0-8-16,0 0-12 0,0 0-24 0,-2-1-16 0,0 1-40 0,1-1-4 15,-1 0 16-15,-1 0 8 0,1 1 12 0,0-2 8 0,-2 1 8 0,0-1 8 16</inkml:trace>
  <inkml:trace contextRef="#ctx0" brushRef="#br0" timeOffset="68063.893">18062 7708 19 0,'-2'-1'36'0,"0"1"-4"0,2-1-4 0,-2-1 0 0,1 2 0 16,0 0-4-16,1-1 0 0,-2 1-4 0,1-1 0 0,0 0 0 0,0 1 0 16,0 0 0-16,0-1-4 0,0 0 0 0,0 0 0 0,1 0 0 0,-1 1-4 15,0 0 0-15,0-1 0 0,1 1-4 0,-1-1 4 0,1 1 0 0,-1 0 4 0,1 0-8 16,0 0 8-16,0 0-4 0,0 0 0 0,0 0 0 0,1 1-4 0,-1 0 4 15,1 0 8-15,-1 1-4 0,0-1-4 0,1 1-4 0,-1-1 8 0,0 2-4 0,1 0 4 16,-1 0 0-16,0 1 0 0,0-1-4 0,1 1 8 0,-2 0 0 16,1 0-4-16,0 0 0 0,0 2 0 0,0-1 4 0,0 2-4 0,0-2 0 0,0 3 4 15,-1-1-4-15,1 1 4 0,-1 0-4 0,0 1 0 0,0 0-4 0,0 0 4 16,-1 1-4-16,1-1 0 0,-2 2 0 0,1-1 0 0,0 0-4 0,-1 0 0 0,0 1 4 15,1 0-4-15,-1-1 0 0,0 1 0 0,0 0-4 0,1-2 0 0,0 2 4 16,-1-1 0-16,0 1-4 0,0-1 0 0,0 0 0 0,0-1 0 0,0-1 0 16,1 2-4-16,-1-2 4 0,1 1-4 0,0-1 4 0,0-1 0 0,1 0-4 15,-1 0 4-15,1-1-4 0,1 0 0 0,-2-1 0 0,1-1 0 0,1 2 0 0,-1-3 0 16,1 0 0-16,-1 0 4 0,1 0-4 0,0 0 0 0,0-1 0 0,0 0 0 15,0-1 0-15,0 0 0 0,0 0 4 0,0 0-4 0,0-1 0 0,1 2-4 0,-1-2 4 16,0-2-4-16,1 2 4 0,0-1-8 0,0 0-8 0,0 0-12 0,1-1-8 16,-1 1-20-16,0-1-16 0,2-1-12 0,-1 1-20 0,0-1-16 0,0 0 8 15,1 0 12-15,-1 0 12 0,1 1 8 0,0-1 4 0,0-1 12 0,-1 0 8 0</inkml:trace>
  <inkml:trace contextRef="#ctx0" brushRef="#br0" timeOffset="68767.9331">17918 8197 15 0,'-9'-1'36'0,"0"1"-4"0,0-1-4 0,0-1-4 15,-1 1 0-15,1-1-4 0,0 0-4 0,-1-1 0 0,0 1 0 0,1-1-4 0,-1-1 8 16,-1 0-8-16,2 1 4 0,-1-2-4 0,0 0 0 0,0 2 0 0,1-3 0 16,-1 1 0-16,1-1 0 0,1 1 4 0,0 0-4 0,-1 0 0 0,1-2 0 15,1 1-4-15,0 1 0 0,0-2 0 0,0 1 0 0,1-1 0 0,1 1 0 16,-1 0 0-16,0-3-4 0,1 2 4 0,1 0-4 0,-1-1 0 0,1 0 0 0,1-1 0 15,-1 2 0-15,-1-3-4 0,3 3 4 0,-1-3 0 0,1 1 0 0,0 0 0 16,0-1-4-16,0 0 0 0,1 1 0 0,1-2 4 0,0 1-4 0,0-1 4 16,0 0-4-16,1 1 0 0,0-2 4 0,1 1-4 0,0-1 0 0,1 0 4 0,0 0-4 15,1 0 0-15,1-1 0 0,0 1 0 0,1-1 0 0,0 0 0 0,1 0 0 16,2-1 0-16,-1 0 0 0,1 0 4 0,3 1 0 0,-1-1-4 0,0 1 0 15,3-2 0-15,-1 1 0 0,2 0 0 0,0 1 0 0,2 0 0 0,-1-2-4 0,2 2 4 16,-1 1 0-16,2 0 0 0,2 1 0 0,-2-1 0 0,2 2 0 0,1 0 0 16,-1 1 0-16,1 0 0 0,1 2 0 0,0 0 0 0,-1 2 0 0,1-1 0 15,1 3-12-15,0-1 16 0,-2 2 0 0,1 1 0 0,1 0 0 0,-1 1 0 0,-1 2-4 16,1 0 0-16,-1 0 0 0,-2 2 0 0,2 1 4 0,-1 1-4 0,-1 0 0 15,1 1 0-15,-1 1 0 0,-2 0 4 0,1 0 0 0,0 1 0 0,-3 0-4 0,1 1 4 16,0 0 0-16,-1 0-4 0,-1 1 0 0,0 0 8 0,-1-1-4 16,1 2 4-16,-3-2-8 0,0 2 0 0,1-1 0 0,-2 1 4 0,1-1 0 0,-2 1 4 15,0-1-4-15,0 0-4 0,-2 1-4 0,-1 0 8 0,1-1 0 0,-1 0 8 16,0 0 0-16,-2 1-8 0,0-1 0 0,-1 0 4 0,0-1 4 0,-1 1-4 0,1 0 0 15,-2 0 4-15,-1 0 0 0,0-1 0 0,-1 1-8 0,-1 0 8 0,0-2 0 16,-2 2-8-16,0-1 8 0,0 0 0 0,-1 0 4 0,0-1-8 0,-1 1 4 16,1 0 0-16,-2 0-4 0,-1-1 0 0,0 0 8 0,1 0-12 0,-1 0 8 15,-2 0-4-15,1 0 4 0,0 0-4 0,0-1-4 0,-2 1 4 0,0-1 4 0,1 0-4 16,-2 1-4-16,0-1 0 0,1-1 0 0,-1 2 4 0,0-3-4 0,1 2 4 15,-3-1 0-15,2-1-4 0,-2 0 0 0,2 1-4 0,-1 0 4 0,-1-1 0 0,1 0-4 16,-2 0 4-16,2-1-4 0,-1 2 4 0,-1-2 0 0,1 0-4 16,-2 0 0-16,2 1 0 0,-1-2 4 0,0 1 0 0,-1-1-4 0,1 0 0 0,0 1 0 15,-1-2 4-15,0 1 0 0,0-1 0 0,1 0-4 0,-1-1 0 0,0 1 0 16,0-1 0-16,0 0 0 0,-1-1 0 0,2 0 0 0,-2-1 0 0,0 0 0 0,1 0 0 15,-1 0 0-15,-1-1 0 0,1 0 0 0,-1-1-4 0,-1 1 4 0,1-2 0 16,-1 0-4-16,1 2 0 0,-1-3-4 0,1 0 4 0,0 1-8 0,-1-2-4 16,2 0-12-16,-1 0-12 0,2 0-4 0,-1 0-12 0,1-2-8 0,0 1-8 0,2 0-24 15,0-1-12-15,0 1 12 0,1-1 8 0,1 1 12 0,1-1 4 0,0 1 12 16,1 0 8-16</inkml:trace>
  <inkml:trace contextRef="#ctx0" brushRef="#br0" timeOffset="90764.1914">15446 10183 19 0,'-2'-5'52'0,"0"1"-4"16,0-2 0-16,-1 2-4 0,2 0 0 0,-2-1-4 0,2 0 0 0,-2 1-4 15,1 0-4-15,1 0-4 0,-1 0 4 0,0 1-4 0,0-2-8 0,0 2-8 0,-1 0 12 16,1 0-8-16,-3-1 0 0,3 2-4 0,0-1 4 0,-2 1-4 0,3-2-8 15,-2 3 4-15,2-1 4 0,-1 1 4 0,1-1-16 0,1 2 4 0,0 0 8 0,1 0-4 16,0-2-4-16,0 2 4 0,-1 0-4 0,2 2 4 0,0-2 4 0,-1 0-4 16,2 1 0-16,-1 1-4 0,1-2 0 0,2 2 4 0,-2 0 0 0,1 1 0 15,1-1 0-15,0 1 0 0,1-1-4 0,0 2 4 0,0-1 0 0,2 1-4 0,-2 0 0 16,1-1 4-16,3 1-4 0,-2 1 0 0,0-2 0 0,2 2 4 0,-1 0-4 15,0-1 4-15,0 1-4 0,2 0 0 0,-2 1-4 0,0-1-4 0,1 0 8 0,-1 1 0 16,0-1 0-16,0 1-4 0,-1 1 0 0,0-2 8 0,-2 2-4 16,2-1-4-16,-2 0 4 0,-2 2 0 0,1-1 0 0,-2 0 4 0,-1 1-8 0,0-1 0 15,-1 3 0-15,-1-3 0 0,-1 1 0 0,-2 2 0 0,1-1 0 0,-1 0 4 16,-2 0-8-16,0 1 4 0,-2-1 4 0,1 0 0 0,-1 2 0 0,-1-1 0 0,0 0 0 15,-2-1-4-15,1 1 0 0,-1-1 0 0,-1 0 4 0,0 0 0 0,1 0-4 16,-2-1 4-16,1 0 0 0,-1-1 0 0,1 0 4 0,1 0-8 0,-2-1 0 16,1-1 8-16,2 0 0 0,-2-1-4 0,2-1 0 0,1 1-4 0,0-1 0 15,0-1 8-15,1 1-4 0,1-1-4 0,0 0 0 0,-1-1 0 0,3 1 0 0,0-2 0 16,2 1 0-16,-1-1 0 0,2 0 4 0,0 0 0 0,2 1-4 0,0-1 4 15,2 1-4-15,0-1 0 0,1 0 0 0,2 0 0 0,-1 0 0 0,1 2 4 16,1-2-16-16,1 0 16 0,0 0 0 0,1 0 0 0,0 0 0 0,1 0-4 16,0 0 0-16,1 0 0 0,1 1 4 0,-2-1 0 0,1 0-4 0,1 0 4 0,0 0 0 15,-1 0-4-15,2 0 0 0,-3 1 0 0,3-1 0 0,-3 1 0 0,1 0 0 16,0-1 4-16,-1 1-4 0,0-1 0 0,0 0 4 0,-1 0-4 0,-1 0 0 0,-1 2 0 15,2-2 0-15,-2 0 0 0,0 0 0 0,-2 1-4 0,2-1 4 0,-2 0 0 16,0 1 0-16,-1-1 0 0,0 1 0 0,-1-1-4 0,0 1-8 0,0-1-8 16,-1 0-4-16,1-1-12 0,-1 1-16 0,-1-2-12 0,0 2-12 0,0-3-24 0,-1 1-16 15,0 0 8-15,0-1 16 0,0 1 8 0,-1-1 8 0,0 0 8 0,0 1 8 16</inkml:trace>
  <inkml:trace contextRef="#ctx0" brushRef="#br0" timeOffset="91460.2312">15247 10805 19 0,'-10'3'32'0,"0"-1"-4"0,0 0 0 0,0 1-8 16,1-3 4-16,-1 2 0 0,0-2 0 0,0 0-4 0,-1-2 0 0,2 1 0 0,0-1 0 15,-1-2 0-15,1 1 0 0,1-1-4 0,-1-1 0 0,0 1 0 16,1-2 0-16,0 1 0 0,0 0-4 0,1-1 0 0,1-1 0 0,-1 0-4 0,1 0 0 16,0 0 0-16,0-1 0 0,1 0 0 0,1-1 0 0,0 0-4 0,0-1 0 15,0 0 0-15,0 0 0 0,2-1 0 0,-1-1 0 0,1 0 0 0,0-1 0 0,1 0 0 16,0 0-4-16,1-2 4 0,0 0-4 0,0-1 4 0,1 1 0 0,0-2-4 15,1-1 0-15,0 0 0 0,1 0 0 0,0-1 0 0,2 0 4 0,-1-2 0 16,2 1 0-16,0-2-4 0,-1 1 0 0,3-1 0 0,0-1 0 0,0 0 0 16,1-1 0-16,1 2 4 0,0-2-4 0,0 0 4 0,2 1 0 0,0 0-4 0,1-1 0 15,0 2 0-15,0 0 0 0,2 0 0 0,0 1 0 0,1 1 4 0,-1-1-4 16,3 3 0-16,-3 0 0 0,4 0 4 0,0 1-4 0,-2 1 4 0,3 2 4 0,-2-1-8 15,2 2 4-15,1 2-4 0,-1 0 4 0,1 1-4 0,1 1 0 16,-2 1 0-16,2 3 0 0,1-2 0 0,-1 2 0 0,0 2 0 0,1 0 0 0,1 1 4 16,1 2 0-16,-1 0-4 0,1 0 4 0,0 2-8 0,1 1 4 0,0-1 0 15,0 2 0-15,0 0 0 0,0 1 0 0,1 1 0 0,0 0 4 0,-1 3-4 0,1-2 0 16,-2 1 0-16,0 0 4 0,0 2 0 0,1 0 0 0,-2 1 0 0,1 0-4 15,-3 1-4-15,1 0 4 0,-1 0 8 0,0 1 0 0,-2 0 0 0,0 0-8 16,-2 1 4-16,1-1 4 0,-3 2 0 0,0 0 0 0,-1-2 0 0,-2 2-4 16,-1 0-8-16,0-1 8 0,-2 2 8 0,-2-1-12 0,0 0 4 0,-1 0 0 0,-2 0-4 15,-1 1 8-15,-2-1-4 0,1 1 4 0,-2 0 4 0,-2-1 4 0,0 2-4 16,-2 0 4-16,0 0 0 0,-3 1 0 0,0-1 0 0,-2 0 0 0,-1 1 0 0,-1 1 0 15,-2-1 4-15,-1 1-4 0,0 0 0 0,-3 1 0 0,0-1 0 0,-2 2 0 16,-2-2 0-16,0 2-4 0,-1 0 0 0,-2 0 0 0,-1-1-4 0,1 2 0 16,-2-2 4-16,-1 2-4 0,0-2 0 0,-2 1-4 0,0-1 0 0,0 0 4 0,-1-1-4 15,-1 1 4-15,1-2 0 0,-2-2-4 0,1-2 0 0,-1 2 0 0,-1-2-4 16,1-1 0-16,0-1 0 0,-1-1 4 0,1-2-8 0,0 1 4 0,-2-3 0 0,2 0 0 15,0-1 0-15,-1 0 0 0,2-2 0 0,-1-2-4 0,3 1 0 16,-4-2 0-16,4-1-4 0,0 0 0 0,0-1-4 0,0-2-20 0,1 1-12 0,1-2-8 16,1-1-8-16,2-1-20 0,0 1 0 0,1-2-16 0,1 0-20 0,2-1 8 15,0 0 16-15,3 0 8 0,0-1 12 0,2 1 8 0,0-1 8 0</inkml:trace>
  <inkml:trace contextRef="#ctx0" brushRef="#br0" timeOffset="101202.7884">21823 9889 11 0,'1'-6'60'16,"1"-1"-8"-16,-1 2-4 0,0 1-4 0,-1-1-8 0,-1 1 0 0,0 1 4 0,-1-1-8 16,1 2 0-16,-2 0-8 0,1 1 4 0,-3 0-8 0,1 1 0 0,0 1-8 15,-2 1 8-15,0 1 0 0,-1 0-4 0,0 1-12 0,0 0 4 0,-2 1-4 0,2 1 0 16,-2 1 12-16,1-1-12 0,0 2 12 0,-1 1-4 0,2 0-12 15,-2 1 8-15,2 0-4 0,0 0 4 0,-1 1-4 0,2 0 4 0,-1 0-4 0,1 0-8 16,-1 2 4-16,1-2 8 0,1 2-8 0,1-1 0 0,0 0 0 0,1-1 4 16,1 0 4-16,1 1-12 0,2-3 12 0,0 2 0 0,1-1-4 0,2-1 4 0,1-1-8 15,1 0 8-15,1-1 0 0,3 0-4 0,-1-1 0 0,1-1 4 0,2 0 0 16,0-1-4-16,2 0-4 0,-1 0 4 0,1-3-4 0,1 1 4 0,0 0 0 15,1 0 4-15,-1-2-4 0,3 1 0 0,-2-1 0 0,0 0 0 0,1 0-4 16,-1-1 4-16,0 1-4 0,0-1 0 0,0-1 4 0,-2 1-4 0,1 0 4 0,-1-1-4 16,0 2 0-16,-1-2 0 0,-2 1-4 0,1-1 4 0,-2 1-4 0,-1 0-8 15,0-1-4-15,-2 1 8 0,0 0-12 0,-2-1-12 0,1 1-8 0,-1-1-12 0,-1 1-8 16,-2-2-20-16,0 2-16 0,-1-1 8 0,-1 0 8 0,0-1 12 0,-1 0 4 15,0 0 8-15</inkml:trace>
  <inkml:trace contextRef="#ctx0" brushRef="#br0" timeOffset="101391.7991">21903 10011 11 0,'1'2'32'0,"2"1"-8"0,0 0 4 0,0 1 0 0,-1 1-4 0,0-1 0 15,0 1-4-15,0 1 0 0,-1 1 0 0,1 0-4 0,-1 1 0 0,-1 0 0 16,0 1-4-16,0-1 0 0,-1 2 0 0,0 0 0 0,0 0-4 0,-1 1-4 15,1-2 4-15,-1 4-4 0,1-2 0 0,-1 1 0 0,1 0-4 0,-2 0 4 16,0 0-8-16,2 1-4 0,-1-1 0 0,1 0-12 0,-1 0-8 0,-1 0-28 0,2-2-12 16,-1 3 0-16,1-3 8 0</inkml:trace>
  <inkml:trace contextRef="#ctx0" brushRef="#br0" timeOffset="101891.8278">21496 10499 7 0,'-12'-7'28'0,"-1"-2"0"0,0 1-4 0,2-2 0 0,-1 0-4 15,1-1-4-15,-2 0 0 0,4-1 0 0,-1-1 0 0,-1-2-4 0,3 1 0 16,0-2 0-16,0 0 0 0,1-1-4 0,2-1 4 0,0 0 0 0,2-1 0 0,1 0 0 16,1-1 0-16,1 1 0 0,2-2 0 0,1-1 0 0,1 0 4 0,3 0-4 15,2-1 0-15,0 0 0 0,2 0 4 0,3 0 8 0,1 0-12 0,3 0 4 0,0-1 0 16,2 1-4-16,2 1 4 0,2-1 4 0,1 1-8 0,2 0 0 15,1 0 0-15,2 2-8 0,0 0 8 0,3 1 0 0,-1 1 0 0,2 1 0 0,3 2-4 16,-2 0 0-16,1 1-8 0,1 2 8 0,0 0 0 0,0 3-12 0,1 2 12 16,0 1-12-16,-1 1 8 0,-2 0-8 0,0 5 8 0,1 0-4 0,-2 0 8 0,-2 3-12 15,-1 1 8-15,-1 2 0 0,-2 1 0 0,-2 2-8 0,0 1 0 0,-1 1 16 16,-2 2-8-16,0 1 0 0,-3 1-8 0,-1 0 4 0,-2 1 4 0,0 3 0 15,-3-1-4-15,-1 0 4 0,-1 1 0 0,-2 1-4 0,-3-1 4 0,0 2 0 0,-3-1 0 16,-1 0 0-16,-2 0 0 0,0 1 0 0,-3 0 0 0,-1-2 4 0,-1 2 0 16,-1-2 0-16,-1 1 0 0,-2-1 0 0,-1 0 0 0,-2-1 0 0,-1 1-4 0,-1-1 4 15,-2-1 0-15,0 0-4 0,-3 0 0 0,0 0 0 0,-2-2-4 0,0 1 0 16,-2-1 4-16,-1 0 0 0,-1-1 0 0,0 0-8 0,0 0 8 0,-2-1-4 15,0-1 4-15,-1-1-4 0,0 0 0 0,0 0-4 0,0-1 4 0,1-2 0 16,-2 0 0-16,1-1-4 0,0-1 4 0,1-1-4 0,-1-1 4 0,2-1-12 0,0-1 8 16,-1-1-12-16,2-1-4 0,0-1 0 0,1-2-8 0,1 0-4 0,-1 0-8 15,2-3-4-15,0 1-4 0,1-2-12 0,1-1-16 0,1 0-16 0,1-2 8 0,1-1 8 16,0 1 8-16,2-2 8 0</inkml:trace>
  <inkml:trace contextRef="#ctx0" brushRef="#br0" timeOffset="115669.6159">18436 15087 11 0,'1'-1'48'0,"0"1"-4"0,-1-2-8 0,1 1-4 16,1 1-4-16,-1 0-4 0,0 0 0 0,1 0 0 0,0 0-4 0,-2 0-4 16,1 0 0-16,2 0 4 0,-2 0-4 0,1 0 0 0,0 0 0 0,3 0 8 0,-3 0-4 15,1 0 0-15,-1 0 0 0,1 0-4 0,0 0 0 0,0 0 12 0,1-1-8 16,0 1 0-16,2 0-4 0,-1-1 8 0,0 1-12 0,1 0 4 0,0-1 8 15,0 0-8-15,2 0-4 0,-2 0 4 0,2 0-4 0,-1 0 4 0,1 1-4 16,1-2 0-16,-1 2 4 0,0-2-12 0,2 1 8 0,0 1-4 0,-1-1 0 0,2 0-4 16,-1 1 0-16,0-2 0 0,2 2 0 0,-1-1 0 0,2 1 0 0,-2-2-4 15,1 2 4-15,1-1 0 0,0 1 4 0,1-1-4 0,-1 0 0 0,0 0-4 0,3 0 4 16,-2 0 0-16,2 0 0 0,-2-1 0 0,3 2 4 0,-2-3 0 15,1 0 0-15,-2 3-4 0,2-2 0 0,-1 0 4 0,0 1 0 0,-2-1-4 0,1-1 0 16,-2 2 0-16,1-2 0 0,-2 2 4 0,0 0 0 0,0 0 0 0,-2-1 4 16,0 1-4-16,0 0 0 0,-3 2 0 0,0 0 0 0,-1 1 0 0,-1 0 0 0,-1 2 0 15,-1 0 0-15,-1 2 0 0,-1 1 0 0,-1 0 4 0,-1 1-4 0,-1 2 0 16,0-1 0-16,-2 3-4 0,0 0 0 0,-1 1 4 0,-1 1-4 0,0 1 4 15,0 0-4-15,-1 2 0 0,0 1 0 0,0-1 0 0,0 3 4 0,-1 1 0 16,-1 1 0-16,0 2 0 0,1 0 0 0,-2 1 0 0,1 0 0 0,0-1-4 0,0 1 0 16,1-1 0-16,1-1 0 0,0 0-4 0,-1 0 4 0,1-1-4 0,2 0 4 15,-1-2 0-15,1-1 0 0,0 1-4 0,1-1 0 0,0-2 0 0,1 1 4 0,0-3-4 16,-1 1 0-16,2-2-4 0,1 0 0 0,-1 0-4 0,2-3 0 15,-1-1-4-15,1-2-4 0,1-2-8 0,0-1-8 0,2-2-12 0,-1-1-16 0,0-4-8 16,2 0-12-16,-2-1-16 0,2-2-24 0,-1-1 0 0,2 0 8 0,-2-1 16 16,1-2 8-16,-1 0 12 0,1-2 8 0,-1 1 8 0</inkml:trace>
  <inkml:trace contextRef="#ctx0" brushRef="#br0" timeOffset="116138.6427">18364 15707 71 0,'-16'-8'64'0,"-2"-10"-8"0,0 7-12 0,1-2-4 0,1-1 4 15,-1-2-4-15,2 0 0 0,0-2-16 0,1 0 8 0,1 0-8 0,3-2 0 0,1 1-4 16,-1-2-4-16,3 0 0 0,1-1 4 0,2-1 0 0,1-1-4 0,2 0-8 16,1-2 0-16,2 0-4 0,1-1 4 0,2 0 0 0,1-1 4 0,3-1-4 0,2 0 0 15,2 0-8-15,2 0 8 0,3 0-8 0,1 0 8 0,3-1-8 0,2 1 4 16,3 1 0-16,2 1 0 0,3-1 4 0,1 3-4 0,2-1-8 0,3 2 12 15,1 2-8-15,1-1 0 0,2 3 4 0,0 0 0 0,2 3-4 0,1 1 4 0,1 3-8 16,1 2 8-16,-1 2 0 0,2 2-4 0,-2 2 0 0,1 3 0 0,-1 1-4 16,1 2 0-16,-2 3 4 0,0 3 0 0,-2 0 0 0,-1 2 0 0,-1 3 4 0,-3 1-8 15,-1 3 8-15,0-1-12 0,-5 4 16 0,-1 0-8 0,-3 0-8 0,-2 2 12 16,-2 1-4-16,-2 0 4 0,-2 1-4 0,-4 1 0 0,0 0 0 0,-4 1 4 15,-2-1-4-15,-2-1 8 0,-3 1-4 0,-2-1-4 0,-3 1 0 0,0 0 4 16,-4-1 0-16,-1 1 0 0,-4-2 0 0,0 1 0 0,-1 1 4 0,-4-2-4 0,0 1 4 16,-2 0 0-16,-1-1-4 0,-2 0-4 0,-3 1 0 0,0-1 4 0,-2 2 4 15,-2 0-12-15,-2 0 8 0,0 0 4 0,-3 2-4 0,0-1-4 0,-2 0 4 0,-1-1-4 16,0 1 4-16,-3-1-4 0,1 0 4 0,-2-1-4 0,1-1 0 15,-1 0 0-15,0-1 0 0,-1-3 0 0,2 2-4 0,-1-2-4 0,0-4-4 0,0 0-12 16,0-2-12-16,0-1-12 0,1-3-20 0,0-1-36 0,0-1-4 0,1-5 12 16,0 1 12-16,2-4 8 0,0-1 8 0,0-3 4 0</inkml:trace>
  <inkml:trace contextRef="#ctx0" brushRef="#br0" timeOffset="125202.1611">18453 10583 15 0,'-12'6'32'16,"0"-2"-4"-16,0 0-4 0,1 0-4 0,1 0 0 0,0-1-4 0,1 1 0 16,0-1-4-16,0-1-4 0,2 0 0 0,0 0-4 0,2 0-8 0,-2-1 0 0,3 0-8 15,0 0-12-15,0-1-16 0,1 0-12 0,1-1 0 0</inkml:trace>
  <inkml:trace contextRef="#ctx0" brushRef="#br0" timeOffset="126019.2079">18385 10154 19 0,'1'-1'32'0,"0"-1"0"0,0 1-4 0,1 0-4 0,0 0 4 16,1 0-4-16,0 1-4 0,0 0 4 0,1 1-4 0,-1 0 0 0,0 0-4 16,1 1 4-16,0-1 0 0,1 2 0 0,1-1 0 0,-1 2-4 0,1-1 0 0,-1 0 0 15,1 2 0-15,0 0 4 0,1-1-4 0,0 1-4 0,0 1 4 0,-1 0-4 16,3 0 4-16,-2-1 0 0,0 2-4 0,1 0-4 0,0-2 0 0,0 2 4 0,-1 0 0 15,0-1 0-15,-1 0-8 0,0 0-4 0,0 0 8 0,-2 0 0 16,0 0 0-16,-1 0-4 0,0-1 4 0,-1 2 0 0,1-1-4 0,-3-1-4 0,0 1 8 16,-2 0 4-16,-1-1-8 0,1 1 4 0,0 0-4 0,-3 0 4 0,1 0 4 15,-1-1-4-15,0-1 0 0,-2 2-4 0,0-1 0 0,0 1-8 0,0-2 16 0,-2 2-8 16,1-2 0-16,0 3 0 0,0-3 0 0,-2 0 0 0,2 0 0 0,-1 0 0 15,-2 1 0-15,3-1 0 0,0 0 4 0,1-1-4 0,-2-1 0 0,2 2 4 16,0-2-12-16,1 0 8 0,0 0 0 0,-1 0 0 0,2-1-4 0,1 0 4 0,0-1-4 16,1 2 4-16,0-2-4 0,1 0-4 0,0 0 4 0,2 1 0 0,0-1 4 15,0 0-4-15,2 0 0 0,1 0 0 0,-1 0 4 0,2 1-4 0,1 0-4 0,1 0 4 16,0-1 0-16,2 1-4 0,0 1 8 0,0-1 0 0,2 0-4 0,-1 1 0 15,2-1 4-15,0 1-4 0,-1-1 0 0,2 1 0 0,0 1 0 0,0-1-8 16,0 0 8-16,1 1 4 0,-1 0-4 0,0-1-4 0,0 1 8 0,-1 0-8 16,1-1 12-16,-1 2-8 0,-2-1 0 0,1 1 4 0,-2 0-8 0,-1-1 12 0,-1 1-8 15,0 1 4-15,-2 0-4 0,-2 0 4 0,0 0 0 0,-1 0-4 0,-1 0 0 16,-2 0 0-16,0 2 0 0,-2-2 0 0,0 1 0 0,-2 0-8 0,0 0 8 0,-1 0 4 15,1 0-4-15,-3 0-4 0,0-1-4 0,1 0 8 0,-1 1-12 16,-1-2 0-16,1 2-16 0,-1-2-8 0,0 0-8 0,0-1-8 0,1 0-8 0,-1 0-16 16,0-1-12-16,1-1-8 0,0-1 8 0,0 0 16 0,1 0 8 0,1-1 4 15</inkml:trace>
  <inkml:trace contextRef="#ctx0" brushRef="#br0" timeOffset="126461.2331">18145 10660 15 0,'-8'-5'28'16,"0"1"-8"-16,1-1 4 0,-1 0-4 0,1-3-4 0,0 0 0 0,0 0 0 15,0-2-4-15,0 0-4 0,1-1 0 0,0-1 0 0,1 0 0 0,-1-2 0 0,2-1 0 16,0 1 0-16,1-2 0 0,1-1-4 0,1-1 0 0,0 0 0 0,2-2 4 15,1 0-4-15,0-2 0 0,2 1 0 0,1-2 0 0,2 0 0 0,0-1 0 16,2 0 0-16,1 0 0 0,3-1 0 0,1 0-4 0,1 0 4 0,1 1 0 0,3-2 4 16,2 2-4-16,0 0-4 0,4 1 4 0,0 1-4 0,2 2 0 0,1-1 0 15,3 3 0-15,0 1 0 0,1 1 4 0,1 2 0 0,1 1-4 0,0 3 4 0,0 1 0 16,1 2 0-16,-1 2-4 0,1 2 4 0,-1 3-4 0,0 1 4 0,0 1 0 15,-2 3 0-15,0 2 0 0,-1 0 0 0,1 3 0 0,-4 2-4 0,1 1 4 16,-2 1 0-16,0 0 0 0,-3 4 0 0,0-2 0 0,-2 2-4 0,-3 2 4 16,1-2 0-16,-3 2 4 0,-2-1 0 0,0 0 0 0,-4 1 0 0,0-1 4 0,-1 1 0 15,-2-1 4-15,-1 0 8 0,-1 1 4 0,0-2 0 0,-3 1 0 0,0-1-4 16,-3 2 8-16,0-2 0 0,-2 0-8 0,-1 0 0 0,-2 0 4 0,-1 0-8 0,-1 0 0 15,-2-1 0-15,-1 1-4 0,-2-2-4 0,0 1 0 0,-4 0-4 16,0 0 0-16,-3 0 4 0,0 0-4 0,-3 0 0 0,-1-1 0 0,-1 1 0 0,-1-1-4 16,-2 1-4-16,2-1 4 0,-3-1 0 0,0 0 0 0,-2 0-4 0,1-3-4 15,0 0 4-15,-1-1-4 0,0 0 4 0,1-2-4 0,-1-1-4 0,0-1-12 0,1-1-4 16,-1-2-4-16,1 0-8 0,0-1-8 0,0-1 4 0,1-1-4 0,1-1-4 15,1-1 4-15,-1 0-12 0,2 0-8 0,0-3-24 0,2 1 0 0,2 0 12 16,-1-2 8-16,2 2 8 0,1-1 4 0</inkml:trace>
  <inkml:trace contextRef="#ctx0" brushRef="#br0" timeOffset="127586.2974">16501 12611 43 0,'7'-5'40'0,"-1"0"-4"0,3 1 0 0,-3 0-12 0,1 0 0 0,-1 0 0 0,-1 1-4 15,1 0 0-15,0 1 0 0,-2 0-4 0,1 1 0 0,-2 0 0 16,0 2 0-16,1 0 0 0,-1 1-4 0,-1 1 0 0,-1 0-4 0,0 2 4 0,-1 0-4 16,0 0 4-16,0 2-4 0,-1 0 0 0,1 2 0 0,1 0 0 0,-1 1 0 15,0 0 0-15,0 0-4 0,1 2 0 0,1-2 0 0,-1 2-4 0,0 0 0 0,2-1 4 16,-2 2 4-16,3 0-8 0,-2-1 0 0,2 0 4 0,0 1 0 0,2 0 0 15,0-1 4-15,0 0-4 0,1 0-4 0,0-2 4 0,3 1 0 0,-1 0 0 16,0-1-4-16,2-1 4 0,1 1-4 0,-1-2 4 0,2 1 4 0,0-2-4 16,1 1 0-16,-1-1 0 0,2-1 0 0,-1 0 0 0,0 0 0 0,0 1-4 0,-1-2 0 15,1 1 4-15,-1 0-4 0,1-1 8 0,-1-1-8 0,-1 2 8 0,-1-1 4 16,0 1-8-16,0 0 0 0,-2-1 4 0,-1-1 8 0,0 2-8 0,-1 1-4 0,-2-2 4 15,0 2-4-15,-2-1 4 0,0 1 0 0,-2-2 4 0,-1 1-4 0,-1 1 4 16,0-2 0-16,-2 2-4 0,-1-1-4 0,-1 1 0 0,0 0 4 0,-3-2 4 16,2 2-8-16,-3-1 0 0,1-1 0 0,-2 2 4 0,0-2-4 0,0 0-4 0,-2 0 0 15,1-2 4-15,-2 2 0 0,2-3-4 0,-3 2 4 0,1-3-4 0,0 1 8 16,-1-2-8-16,1 0 0 0,0 0 0 0,-2-1 0 0,2-1-4 0,-1 0 8 0,0-2-8 15,0 1 4-15,0-2 4 0,0 0-12 0,2-2 0 0,0 1 0 16,-1-2-8-16,1 0 0 0,0 0-8 0,2-3-8 0,0 1-4 0,0-1-4 0,1-1-4 16,1 0-4-16,1-1-8 0,0 0-4 0,1-1-8 0,1 0-4 0,1-1 0 15,1-2 8-15,0 2 4 0,2-2 12 0</inkml:trace>
  <inkml:trace contextRef="#ctx0" brushRef="#br0" timeOffset="127719.3051">16570 12729 7 0,'8'-15'36'0,"2"-1"0"0,0 2-4 0,-1 0-4 16,2 1 0-16,0 0 0 0,0 2-4 0,0 1 0 0,1-1 4 0,0 3-8 16,0 0 0-16,-1 0 0 0,2 2-4 0,-1 0 0 0,0 1-4 0,1 0 4 0,-2 3 0 15,2-1-4-15,-1 1 0 0,1 0 0 0,-1 1-4 0,0 0 0 0,0 1-4 16,0 0 0-16,-1 1 0 0,2 0 0 0,-3 1-4 0,2-1 0 0,-1 1 4 0,-1 0-4 15,2 0 0-15,-2 0 0 0,-1 1-4 0,1-1-4 0,-1 0-8 16,-1 0-16-16,-1 0-20 0,2 1-28 0,-3-1 0 0,1 0 12 0,-2 0 4 0,1 0 4 16</inkml:trace>
  <inkml:trace contextRef="#ctx0" brushRef="#br0" timeOffset="128255.3358">16843 13203 3 0,'-10'8'36'0,"-1"-1"-4"0,1 0-4 0,0-2-4 0,-2 1 0 0,2-1 0 0,-1 0-8 15,-1-3 4-15,1 1-4 0,-2-1 0 0,2 0 0 0,0-1-4 0,-3-1 0 16,2-1 0-16,-1-1 0 0,0-1 0 0,1 0 0 0,-2-1-4 0,1 0 0 0,0-1 4 15,-1-1 0-15,0 0 0 0,1-2-4 0,0 1 4 0,-1-2 0 16,1 0-4-16,-1-1 0 0,2-1 0 0,-3 0 0 0,2-1-4 0,1-3 0 0,-2 1 4 16,2-1-4-16,-1-1 4 0,1 0-4 0,1-1 4 0,0-2-4 0,0-2 0 15,2 2-4-15,-1-3 4 0,3-1 0 0,0 0 0 0,2-2 0 0,0 0-4 0,3-2 4 16,1 0-4-16,1-3 0 0,2 1 0 0,3-1 0 0,1-1 0 0,2-1 0 15,1 0 0-15,4 0 0 0,1 0 0 0,2 0 0 0,2 0 0 0,3 1 0 16,3-1 0-16,1 0 0 0,2 3-4 0,1-1 0 0,4 1 4 0,2 1 0 16,0 2 0-16,2 1 0 0,0 3 0 0,2 0 4 0,0 2-4 0,2 1 0 15,0 3 0-15,-1 2 0 0,2 1-4 0,-1 2 4 0,0 2 0 0,2 2 0 0,-3 3 0 16,1 0 0-16,-2 2 0 0,2 2 0 0,-3 2 0 0,0 2 0 0,-2 0 4 0,0 4-4 15,-3 0 4-15,-1 2 0 0,-1 2 0 0,-2 0 0 0,-1 3 4 16,-3 1-4-16,-1 2 0 0,-4 0 4 0,0 1 4 0,-3 2-8 0,-1 0 8 0,-3 1 0 16,-1 2 0-16,-3-1 4 0,-1 2-8 0,-2 1 0 0,-2 0 4 0,-2 2-4 15,-2-1 4-15,-2 2-4 0,-2 1 4 0,0-1-4 0,-3 1-8 0,-3 1 8 0,0 1-4 16,-2-2 0-16,-3 2 0 0,1 0 4 0,-4 0 0 0,0 0 0 0,-2 2-4 15,-2-2 0-15,-3-1 0 0,1 0 0 0,-2 0 0 0,-2 0 4 0,1-1-8 16,-3-1 0-16,-2 0 0 0,1-1 4 0,-1-1-4 0,-1-3 4 0,1 1-4 16,-2-3-4-16,1-1 0 0,-1-1 8 0,0-2-8 0,1-2 8 0,-3-2-8 0,3 0 4 15,0-3 0-15,-1-1 0 0,2-2 0 0,0-3 0 0,0 0 0 0,1-2-4 16,1-2 8-16,1-1-8 0,2-1-8 0,0-3 4 0,3-2-8 0,1 1-16 0,3-4-12 15,0 0-8-15,2-1-16 0,3-1-32 0,1-1 4 0,4-1 8 0,1 0 12 16,1-1 8-16,2 0 4 0</inkml:trace>
  <inkml:trace contextRef="#ctx0" brushRef="#br0" timeOffset="128986.3776">20468 12527 19 0,'-1'-2'44'0,"0"1"-4"0,-1 0-4 16,0 2-4-16,-2 0 4 0,0 1-4 0,0 0-4 0,-1 2 4 0,-1 0-4 16,0 1-4-16,-1 1 0 0,0 1 4 0,-1 2-4 0,1-1 4 0,-2 2-12 0,0 1 0 15,1 0 8-15,-1 2-8 0,-1 0-4 0,2 0 4 0,-1 3-8 0,0 0 8 16,1 1-12-16,0 1 12 0,1 0-12 0,-1 1 8 0,1 0-4 0,1 1 0 0,0 0 4 15,1 1-4-15,-1-2-4 0,1 1 4 0,2-1-4 0,-1 1 4 16,2 0 0-16,-1-2-4 0,2 0 4 0,0 0 0 0,1-1-4 0,1-1 0 0,0 0 0 16,1-3 0-16,1 1 0 0,1-1 8 0,0-2-8 0,1-1-4 0,2-1 4 15,0-1 0-15,0-2 4 0,1 0-4 0,2-2 4 0,0-1-12 0,0 0 12 0,2-3-8 16,0 0 8-16,-1-2 0 0,3-1 0 0,-2 1 0 0,1-3 0 0,0 1 0 15,-1 0 0-15,-1-1-4 0,1-2 4 0,0 0 0 0,-2 1 4 0,0 0 4 16,1-2 0-16,-3 0-4 0,-1 1 0 0,0-1 0 0,-1 1 0 0,-2 0 0 16,-1-1-4-16,-2 1-4 0,-1 0 4 0,-2 0 0 0,0 1-4 0,-3 0 0 0,-2 1 4 15,0 1-4-15,-2 0 0 0,-3 1 0 0,1 0 0 0,-2 0-4 0,-1 2 0 16,-1-1 4-16,-1 2-8 0,0 0 4 0,-1 0-4 0,1 0 4 0,-2 1 0 0,0 0 0 15,2 0 0-15,-2 1 0 0,2 0 0 0,0-1-4 0,0 1-4 0,0 0-8 16,2 0 0-16,1 0-12 0,1 0-12 0,0-1-12 0,1 1-8 0,2 0-4 16,1-1-12-16,1 0-20 0,0 1-8 0,3-2 4 0,0 0 12 0,1 1 8 0,2-1 12 15,0 1 8-15</inkml:trace>
  <inkml:trace contextRef="#ctx0" brushRef="#br0" timeOffset="129414.4021">20077 13244 7 0,'-14'6'32'0,"0"0"-4"0,0-1 0 0,0-1 0 0,0-1 0 0,-1-1-4 16,0-1 0-16,-1-1 0 0,1-2-4 0,0 1-4 0,0-5 0 0,-1 2 0 0,1-3 0 15,0-1 0-15,0-1 0 0,0-1-4 0,1-2 0 0,0 0 0 0,1-2 0 16,1-1-4-16,0-2 0 0,1-2 0 0,2 0 0 0,1-1 0 0,1-2-4 0,3-1 4 15,2-1-4-15,1-1 4 0,2-2 0 0,2-1-4 0,2-2 0 16,2 1 4-16,4-2-4 0,1-1 0 0,3-1-4 0,2-1 4 0,3 1 0 0,2-1 0 16,3 1 0-16,2 0 0 0,3-1-4 0,4 2 0 0,1 1 0 0,5 0 0 15,1 1 0-15,2 2 0 0,2 1 0 0,1 1 0 0,2 2 0 0,0 2 4 0,1 1-4 16,-1 2 0-16,1 2 4 0,0 3 4 0,-3 0-4 0,2 3-4 0,-2 3 4 15,-1 1 0-15,-1 3 0 0,-2 2 0 0,-2 4 0 0,-2 1 0 0,-1 2 4 16,-1 2 0-16,-3 3-4 0,-3 2 4 0,-2 1-4 0,-3 2 0 0,-1 1 8 16,-4 1-4-16,-3 1-8 0,-2 3 4 0,-4-1 8 0,0 2 0 0,-5 0-8 0,-1 0 12 15,-2 1 0-15,-3 0 0 0,-1 2 4 0,-2-1 0 0,-2 0 0 0,-3 2-4 16,0-2 0-16,-2 2 0 0,-2-2 4 0,-1 2-4 0,-2-1 0 0,-3 0-4 0,-1-1 0 15,-1 2 0-15,-3-2-4 0,-2 2 0 0,-1-2-4 0,-3 0 0 16,-1 0 4-16,-1 0-4 0,-1-2 0 0,-1 1 4 0,-2 0-4 0,0-2 0 0,-2 1 4 16,-1-1-8-16,-2-1-4 0,1-1 8 0,-1-1-4 0,-2 0-4 0,1-2 4 15,-1-1-4-15,-1-3 0 0,1-1-4 0,-1-2 0 0,0-2-4 0,1-1-20 0,-1-3-8 16,2-2-16-16,0-2-16 0,-1-1-32 0,2-3-12 0,2-2 12 0,-1-1 12 15,3-2 12-15,-1-3 8 0,3 1 8 0,-1-4 4 0</inkml:trace>
  <inkml:trace contextRef="#ctx0" brushRef="#br0" timeOffset="135849.7701">12468 14743 35 0,'-6'7'76'0,"1"0"0"0,-2-1-8 16,2 1-4-16,0 1-4 0,0-2-16 0,0 1 0 0,1 0-8 0,-1-1-4 15,2 0 0-15,0-1 0 0,0 1-4 0,1 0 0 0,0-2 0 16,1 1-4-16,0-2 0 0,1 1 4 0,1-2-4 0,-1 1-4 0,3-1 4 0,0-2-4 0,2 2 0 15,4-2 0-15,0 2 0 0,2-2 0 0,2 1 0 0,1-1 0 0,1 0-4 0,1-1 0 16,2 1 4-16,-1-3-4 0,2 2 0 0,2-2-4 0,-1 0 4 16,2 0-4-16,1-1 4 0,-1 0 0 0,3 0-4 0,-1 0 4 0,2-2 0 0,0 1-4 15,0-1-4-15,0 0 4 0,1 0 4 0,1 0-12 0,-1 0 4 0,0 0 0 16,0-1 8-16,1 2-4 0,-2-2-4 0,-1 2-12 0,1-1 12 0,-2 2 8 0,0-1-4 15,-1 0 4-15,-2 2 4 0,0-1 8 0,-1 2-4 0,-2 0 4 0,0 1 4 16,-3 1 0-16,0 2 8 0,-1 0 0 0,-2 2-4 0,-2 2 0 0,-2 1 0 16,-1 2 0-16,-3 1-8 0,1 2 4 0,-4 2-4 0,-1 2-4 0,0 0 8 15,-4 3-8-15,-1 0 0 0,-1 2-4 0,-1 1-4 0,-1 2 8 0,-1 1-8 0,-1 1 4 16,0 0 0-16,-2 3-8 0,1-1 4 0,-1 1-12 0,-1 2-4 0,1-1 0 15,-1 2 0-15,0-2 0 0,1 2 0 0,-1 0 0 0,0-1 0 0,1-1 0 0,0 0 0 16,2 1 0-16,-2-2 0 0,3 0 0 0,-1-2 0 0,1-2 0 0,1 2 0 16,1-3 0-16,0 0 0 0,0-2 0 0,2 0 0 0,0-1 0 0,1-2 0 15,1-1 0-15,0 0 0 0,0-1 0 0,2-2 0 0,-3 1 0 0,3-2 0 0,0-1 0 16,0-1 0-16,0 0 0 0,0-1 0 0,1-1-24 0,0-2-8 0,0 0-4 15,0-1-12-15,0-1-4 0,0 0-20 0,0-2-12 0,0-2-4 0,0 0-12 0,1-2-12 16,0 0 0-16,0-2 0 0,0-1-8 0,-1-1-12 0,0-1-16 16,3 0 12-16,-2-1 12 0,0-1 16 0,0 0 16 0,0 0 8 0,0-1 8 0,1 1 8 15,-2-2 8-15</inkml:trace>
  <inkml:trace contextRef="#ctx0" brushRef="#br0" timeOffset="136423.8029">12961 15991 3 0,'-7'1'40'0,"-2"0"-4"0,0 0 0 0,0-1-4 15,-1 0 0-15,-2 0-4 0,0 0 0 0,-1-1 0 0,0 1 0 0,-2-1 0 16,0-2-4-16,-2 2 4 0,1-1-4 0,-2-1 0 0,0 0 0 0,-2-1-8 0,-1 0 8 15,0 0-4-15,-1-2 4 0,-1 0 0 0,1 0-4 0,-1-1 0 0,-1 0 0 16,0-3-4-16,0 1 0 0,2-2 8 0,-2-1-4 0,1-1 0 0,0-1-4 16,2-2-4-16,-1-1 0 0,1-1-4 0,3-1 0 0,-1-2-4 0,2-1 12 0,1-4-8 15,2-1 4-15,1-1-4 0,3-3-4 0,2-2 0 0,2-3-4 0,2-1 4 16,3-4 0-16,2 0-4 0,3-4 0 0,4-1 0 0,1-1 4 0,2-1-4 0,3-2 0 15,2 1-4-15,2-4 0 0,3 2 4 0,0-2 0 0,4 1 0 0,1-1 0 16,2 0 0-16,0 0-4 0,3-1 4 0,1 1 4 0,2 0-4 0,1 2 0 16,1 0-4-16,2 2 0 0,3 1 0 0,-1 2 8 0,1 2 0 0,2 3 0 15,0 1-4-15,2 5 0 0,-2 2 0 0,1 5-4 0,0 1 0 0,0 5 4 0,1 2 4 16,-2 3-4-16,3 3 4 0,-3 4-4 0,3 3 8 0,-3 4-4 0,2 3-4 15,0 3 8-15,-1 3-4 0,3 4-4 0,-3 2 4 0,2 3-4 0,-1 3 0 0,-1 3 0 16,0 2-4-16,0 1 8 0,-3 1-4 0,-1 2 4 0,-1 2 0 16,-1 0 0-16,-2 1 0 0,-1 2 4 0,-2 0 0 0,-2 2 4 0,-2 0 4 0,-1 1 4 15,-2 0-4-15,-1 0 4 0,-4-1 8 0,0 1-4 0,-2 0 0 0,-3-1 4 16,-1 0 0-16,-3-2 0 0,-3 0-4 0,-2 0 8 0,-2-1 0 0,-2-1-12 0,-4 0 4 15,-2 1 0-15,-5-2 4 0,0 0-4 0,-4 2-4 0,-3-1-4 0,-2 2 0 16,-2-1 4-16,-3-1 0 0,-1 3-4 0,-3-1-4 0,-2-1 4 0,-2 2-4 16,-3 0-4-16,-2-1-4 0,-4 1 4 0,-2 0 0 0,-1-1 0 0,-5 0 0 15,-1 0 0-15,-3 0-4 0,-2 0-4 0,-2-2 4 0,0 1 4 0,-2 0-4 0,-3-3 0 16,0 0 0-16,-2 0 0 0,-1-3 0 0,-1-1 0 0,-1-1 0 0,-2-3 0 15,1-1-4-15,1-3 4 0,-1-1 4 0,1-2-4 0,0-2 0 0,0-2-12 0,3-3 8 16,-1-1 0-16,2-4 4 0,2-1-8 0,1-2 4 0,3-3-4 16,2-1-4-16,3-3-12 0,2-2-8 0,5-3-12 0,0 0-24 0,3-2-20 0,3-2-20 15,3-2-24-15,2 1-40 0,3-2 16 0,3-1 16 0,3 0 16 0,3-2 4 16,2 0 16-16,2 0 12 0,5-2 4 0,1 1 12 0,2 0 12 0</inkml:trace>
  <inkml:trace contextRef="#ctx0" brushRef="#br0" timeOffset="138465.9198">12299 15838 67 0,'-10'0'64'0,"0"0"8"0,1-5-20 0,-1 5-4 0,2 1 0 0,1 1 0 16,1-2-4-16,0 2 0 0,1-1-8 0,1 1 0 0,0 0-8 0,2 0 0 0,0 0 0 15,1 1 0-15,0-2-4 0,0 3 0 0,1-2 0 0,0 2 0 0,1 0 0 16,0 1-4-16,0 0-4 0,1 0 8 0,0-1-4 0,1 3 0 0,1-1 0 16,0 1 0-16,0-1 0 0,2 1-4 0,0 1 4 0,0-1 4 0,-1 0-4 0,3 3 0 15,0-3 4-15,0 2-4 0,0-1-4 0,1 1 8 0,2-1-4 0,-1 1 0 16,2-1 0-16,-1 2 4 0,1-2 0 0,1 0 0 0,-1 0-8 0,2 0 0 0,-1-1 0 15,1 0 0-15,1 0-4 0,-1-1 4 0,2-1-4 0,0 0 4 0,0 0-4 16,2-2-4-16,-3 0 4 0,3-1-4 0,-1-1 0 0,2 0 0 0,-1-2 4 16,1 0-8-16,1-1 4 0,-2-2-4 0,2 0 0 0,1-1 0 0,-1 0 0 15,0-2 0-15,2-1 4 0,-2 0-4 0,2-1-4 0,0-1 0 0,-1 0 4 0,2 0 0 16,0-2 0-16,-2 2-4 0,1-1 4 0,1 0 0 0,-1 0-4 0,-1 0-4 15,1 1 16-15,-1 0-8 0,-1 1 0 0,0-1-4 0,-1 2 8 0,0 1 0 0,0 0 0 16,-1 1 0-16,1 2 0 0,-2 0 4 0,-1 1 4 0,1 2 0 16,-2 1-4-16,1 1 4 0,-2 1-4 0,1 0 4 0,-2 3 0 0,1 0-4 0,-1 1 4 15,-2 1-4-15,2 0-4 0,-3 3 4 0,1-1 0 0,0-1-4 0,-2 2 4 16,1 0 0-16,1 1-4 0,-1-1 0 0,0 1 0 0,1-2 0 0,-2 2 0 0,2-2 0 15,0 1 4-15,0-1-4 0,-1 0 0 0,3-1 0 0,-3-1 0 0,3-1-4 16,-1-1 4-16,0-1 0 0,2-1 0 0,-1 0-4 0,1-3 4 0,0 0-4 16,2-2 0-16,-1-1 0 0,2-2 0 0,-1-1 0 0,3-1 0 0,-1-2-4 15,2 0 0-15,1-2 0 0,0 1 0 0,1-3 0 0,1 0 0 0,2-1 0 0,0 0 0 16,-1 0 0-16,1-2 0 0,2 1 0 0,-2 1 0 0,2-2 0 0,-1 1 0 15,-1 0 0-15,2 2 0 0,-1-1 0 0,0-1 0 0,-1 4 0 0,1 0 0 0,-2 1 4 16,0 0-4-16,0 1 0 0,-1 1 0 0,-1 3 0 0,0 0 0 16,-1 1 4-16,-1 1-4 0,0 1 0 0,-1 2 0 0,-2 0 0 0,1 2 4 0,-3 1 0 15,0-1 0-15,-1 2 0 0,0 1 0 0,-1-2-4 0,0 3 0 0,-2 0 0 16,1-1 0-16,-1 0 0 0,0 0 0 0,-1 0 0 0,1 1 4 0,-2-1-4 0,1 0 4 15,1-1 0-15,-1 0-4 0,-1-1 4 0,2 1 0 0,-2-1 0 0,1 0 0 16,0 0 0-16,-1-2 0 0,-1 0 0 0,1-1-4 0,1 0 0 0,-1 0 0 16,0-2 0-16,0 0 0 0,0-1 0 0,0-1-4 0,1 0-4 0,-1-1-4 15,0-2-8-15,0-1-8 0,1-1-20 0,-2 1-20 0,1-2-24 0,1 0-20 0,-3-2-20 16,0 1-20-16,0-2-36 0,0 1 8 0,0-2 20 0,-1 0 16 0,-1 0 20 15,-1 0 8-15,-1-1 16 0,0 0 12 0,1 0 8 0,-2-1 8 0,-1 0 12 0</inkml:trace>
  <inkml:trace contextRef="#ctx0" brushRef="#br0" timeOffset="138939.9469">14701 14302 39 0,'10'-12'52'0,"0"2"-4"0,-1-1-8 15,1 1-4-15,-1 1 0 0,-1 0 0 0,1 2 0 0,-2 2 0 0,0-1 0 0,-1 2-8 16,0 3 8-16,0-1-4 0,-2 2 4 0,0 3-4 0,-1-1 8 16,-2 3 8-16,-1 1-4 0,0 2 0 0,-1 0-4 0,-2 2 0 0,0 1 4 0,-1 3-4 15,0-1 4-15,-3 3 0 0,1-1 0 0,0 4-8 0,-2-1 0 0,-2 2 4 16,1 0-8-16,-1 2 0 0,-2 2-4 0,1-1 0 0,-4 2 0 0,2 0-4 0,-2 3 0 15,-2-1-4-15,-1 2-4 0,1 0 0 0,-3-1-8 0,1 1 4 0,-2 1-4 16,1-1 0-16,-1 0 0 0,0-1 8 0,-1 0-8 0,1-1 0 0,0 0 0 16,-1-2-4-16,1-1-4 0,2 0 4 0,-1-1 0 0,2-2 0 0,-1 0 0 15,1-2-4-15,2-1-12 0,0-1 12 0,1-2-16 0,0-1-20 0,2-1-12 0,1-1-8 16,0-3-8-16,1-1-8 0,2-3-16 0,1 0-4 0,1-3-8 0,2 0-24 15,0-4-12-15,2 1 12 0,2-2 12 0,0-1 16 0,1 0 12 0,1-3 8 0,2-1 8 16,-1 1 8-16</inkml:trace>
  <inkml:trace contextRef="#ctx0" brushRef="#br0" timeOffset="139421.9743">14767 14716 39 0,'0'-1'52'0,"0"0"4"15,1 0-8-15,-1-2 4 0,0 1-8 0,0 0-8 0,0 1 8 0,0-2-12 16,1 2 8-16,-1-2-12 0,0 2 4 0,1-1-4 0,0 0-8 0,-1 1-4 0,1-1 8 15,-1 2 0-15,2-2-4 0,-2 1 4 0,1 0 0 0,1 1 4 0,0 0 0 16,0 1 0-16,0 0-4 0,1 1 8 0,1 0 0 0,2 0 0 0,-1 1 0 16,1 1 0-16,1-1 0 0,0 1 0 0,1 2 0 0,1-1 0 0,0 1 0 0,2 0-4 15,0 0 0-15,0 1-8 0,3 1-4 0,-1-1 8 0,2 0-8 0,-1 3 4 16,2-2-4-16,0 2 0 0,2 0-12 0,-2-1 8 0,2 0 4 0,0 1-12 0,1 0 8 15,0 0 0-15,0-1 0 0,0 1-8 0,-1 0 0 0,1-2 4 0,0 1-8 16,-1 1 0-16,1-2 8 0,-2-1 0 0,0 2-8 0,1-3-4 0,-3 2 0 16,1 0 0-16,-1-3 8 0,-1 1 4 0,-1-1-4 0,-2 1 0 0,2-1 4 15,-3 0-8-15,0-2 0 0,-1 1 0 0,-1-1 0 0,-2-1 0 0,1 1 0 0,0 0-4 16,-2-2 8-16,-1 1 0 0,-1-2-4 0,-1 2-16 0,0-2-8 0,0 0-8 15,-2 0-16-15,-1 0-12 0,-1-1-20 0,0 0-16 0,-1 1-16 0,-2-2-24 0,1 1-4 16,-2-1 12-16,-1 0 20 0,1 0 12 0,-1 1 4 0,0-1 16 16,-3 1 8-16,2-1 8 0</inkml:trace>
  <inkml:trace contextRef="#ctx0" brushRef="#br0" timeOffset="139930.0035">14720 15087 3 0,'0'-4'44'0,"0"1"-8"0,0-1 0 0,0 1-8 0,0 0 4 0,0 1-8 16,1-1-4-16,0 1 0 0,0 1 4 0,0 0-4 0,0 1 0 0,1 0 0 16,0 2 0-16,-1 0 4 0,3 1 0 0,-2 1 0 0,1 1 0 0,0 2 8 0,-1 1-8 15,2 1 8-15,0 2 4 0,0 1 8 0,0 2 4 0,1 2 0 0,-1 1-4 16,0 3 0-16,0 2 0 0,0 2-4 0,0 1 4 0,-1 4-4 0,0 1 0 0,2 3 4 15,-3 1-4-15,0 4 4 0,-1 1-12 0,1 1 0 0,-1 2-8 0,-1 2 4 16,-1 2 4-16,0 0 0 0,-1 2 0 0,1 0-12 0,-2 2 8 0,0-1 0 16,0 2-4-16,-1 0 4 0,1-1-12 0,-1 0 4 0,0 0 0 0,0 0 0 15,0-1 0-15,-1-1 0 0,1-1-8 0,-1-1 0 0,2-1 0 0,0-1 4 0,0-2-4 16,0-1-4-16,0-3 4 0,1 0-12 0,1-4 8 0,-2-1-4 0,2-1-4 15,0-3 4-15,1-2-8 0,0-1 0 0,1-1 0 0,-1-2 8 0,3-2-12 0,-2-3 4 16,-1 0-4-16,2-2 0 0,-1-1-4 0,0-2-4 0,0-1-12 16,0 0-8-16,0-3-12 0,0 0-8 0,-1-1-12 0,-1-4-4 0,1 2-16 0,-1-3-8 15,-1-1-4-15,1-2-16 0,-1 0-24 0,0-2 4 0,-2-1 12 0,3-3 12 16,-3 2 16-16,2-3 12 0,-1 0 8 0,-1-2 12 0,0 1 4 0</inkml:trace>
  <inkml:trace contextRef="#ctx1" brushRef="#br0">11271 13300 0</inkml:trace>
</inkml:ink>
</file>

<file path=ppt/ink/ink2.xml><?xml version="1.0" encoding="utf-8"?>
<inkml:ink xmlns:inkml="http://www.w3.org/2003/InkML">
  <inkml:definitions>
    <inkml:context xml:id="ctx0">
      <inkml:inkSource xml:id="inkSrc0">
        <inkml:traceFormat>
          <inkml:channel name="X" type="integer" max="32767" units="in"/>
          <inkml:channel name="Y" type="integer" max="32767" units="in"/>
          <inkml:channel name="F" type="integer" max="2047" units="in"/>
          <inkml:channel name="T" type="integer" max="2.14748E9" units="dev"/>
        </inkml:traceFormat>
        <inkml:channelProperties>
          <inkml:channelProperty channel="X" name="resolution" value="15999.51074" units="1/in"/>
          <inkml:channelProperty channel="Y" name="resolution" value="15999.51074" units="1/in"/>
          <inkml:channelProperty channel="F" name="resolution" value="999.51166" units="1/in"/>
          <inkml:channelProperty channel="T" name="resolution" value="1" units="1/dev"/>
        </inkml:channelProperties>
      </inkml:inkSource>
      <inkml:timestamp xml:id="ts0" timeString="2017-10-28T07:20:56.914"/>
    </inkml:context>
    <inkml:brush xml:id="br0">
      <inkml:brushProperty name="width" value="0.05292" units="cm"/>
      <inkml:brushProperty name="height" value="0.05292" units="cm"/>
      <inkml:brushProperty name="color" value="#FF0000"/>
    </inkml:brush>
  </inkml:definitions>
  <inkml:trace contextRef="#ctx0" brushRef="#br0">5328 6834 3 0,'0'-5'36'0,"-2"1"-4"0,1 0-4 0,0 0-4 0,0 0 0 15,0 1-4-15,0 0 4 0,-1 0-4 0,2 1 0 0,-1 1 0 0,-1-1 0 0,1 0-4 16,0 2 4-16,0-1-4 0,-1 2 4 0,1-1-4 0,-1 2 0 0,0 0 4 15,0 0 0-15,2 2 0 0,-2 0-4 0,1 0 4 0,0 2-4 0,1 0 0 16,0 0 0-16,0 0 4 0,0 2 0 0,0-1 0 0,0 2-16 0,0 0 16 16,1 1-4-16,-1 1-4 0,0-1-8 0,1 2 8 0,0 0 4 0,-1 0 0 0,1 1-4 15,-1 1 0-15,1-1-8 0,0 2-4 0,0 0 12 0,0 0 0 0,1-1-8 16,-1 1-4-16,1 0-4 0,-1 0 12 0,0-1-4 0,0 0 4 0,1 0-8 0,-1 0 4 15,0 0-4-15,0-2 0 0,1 1 0 0,-1-1 8 0,0 0 0 0,1-2-4 16,-1 0 4-16,-1 0-8 0,1-1 0 0,0-1-4 0,0 0 4 0,0-1 4 16,-1-1-8-16,0 0-4 0,0-1 4 0,1-1 0 0,-1 0-8 0,-1-1-16 0,1 0-12 15,-1-2-12-15,0-1-20 0,-1 0-24 0,1-1-4 0,-2-1 8 0,1 1 12 16,-1-2 12-16,0 0 8 0,0 0 4 0</inkml:trace>
  <inkml:trace contextRef="#ctx0" brushRef="#br0" timeOffset="541.0309">4979 7371 7 0,'-10'-5'32'0,"0"0"-4"0,1 0-4 0,0 0 0 15,-1-1-8-15,1 0 4 0,1 0-4 0,-2-2 0 0,2 0 0 0,0-1-4 0,-1 1 0 16,0-2 0-16,1 0 0 0,1-2-4 0,0 2 0 0,-1-2 0 0,2 0 0 0,0-2-4 16,1 0 4-16,1-1-4 0,0 1 4 0,1-2 0 0,1-1-4 0,1 0 0 15,1-1 0-15,0 0 4 0,2-1-4 0,-1 0 0 0,2 0 0 0,1-1 4 0,0 0-4 16,1 0 4-16,1 0-8 0,1-1 8 0,2 1-4 0,0-2 0 0,1 3 0 15,2-1 0-15,0-1 0 0,1 1-4 0,3 0 4 0,0 1-4 0,1 0 4 16,2 1 0-16,0 0-4 0,2 1 0 0,1 0 4 0,0 1-4 0,1 1 4 0,1 1-4 16,2 1 0-16,-3 2 0 0,4 0 0 0,-1 2 0 0,1 1 0 0,1 1 0 15,0 2 0-15,0 1 0 0,0 2 4 0,0 2-4 0,1 2 0 0,-2 1 0 0,0 3 4 16,1 1-4-16,-2 2 4 0,1 2-4 0,-2 1-4 0,0 3 8 0,-2-1-16 15,-1 3 16-15,0 2 4 0,-3 0 0 0,0 1 4 0,-1 1-4 0,-3 1 4 16,1 1 0-16,-3 1 4 0,0 0 0 0,-2 1 8 0,-2 0-4 0,-1 1 0 16,1-2 4-16,-4 3 0 0,0-2-4 0,-2 0 0 0,-2-2 0 0,-1 2 0 0,-1-1 0 15,-2-2-4-15,-1 2 0 0,-1-2-4 0,-4-1 0 0,1 0-8 0,-2-1 4 16,-1 0 0-16,-2 1-8 0,0-2 8 0,-2 1 0 0,0-1 0 0,-3 0-4 0,0 0 0 15,0 0-4-15,-2-1 0 0,1-1 4 0,-2 1 0 0,-1-2 0 16,0 0-4-16,1-2-4 0,-2 0 4 0,0-1 0 0,-2-2 0 0,1 1 0 0,-1-3-8 16,0 0 8-16,-2-3-8 0,2 1-12 0,-1-2-12 0,-1-4-8 0,0 0-8 15,0-1-16-15,-1-2-24 0,2-3-16 0,0 0 8 0,-1-3 12 0,3-1 8 0,-1-1 8 16,1-2 8-16</inkml:trace>
  <inkml:trace contextRef="#ctx0" brushRef="#br0" timeOffset="8713.4984">4696 7612 43 0,'-2'5'44'0,"-1"2"-4"0,2-2-8 16,-1 2 0-16,-1 0-4 0,0 1-4 0,-1-1 0 0,0 3 0 0,0-2-4 15,-1 2 0-15,-1-1-4 0,0 2 0 0,0-2-4 0,-1 1 4 0,-1 1 0 0,0 0-4 16,0 1 0-16,-1-1 0 0,-1 0-4 0,0 0 0 0,1 0 4 0,-2 1 0 15,1-1 0-15,0 1-4 0,-1 1 8 0,1 0-4 0,0-1 4 0,-2 1-8 16,2 0 4-16,-2-1-4 0,1 1 0 0,-1 0 4 0,1-1 4 0,-2 0-8 16,2 1-8-16,-1-2 8 0,1 1 4 0,0-1-8 0,-1 0 0 0,2 0 4 0,0-1-4 15,0 0-4-15,1-2-4 0,0 1 4 0,0-1 0 0,0 0 0 16,2-1 0-16,0 1-4 0,-1-2 8 0,2 0 4 0,1-1 0 0,0-1-8 0,1 1-4 0,-1 0 0 15,0-2 12-15,3 1-4 0,-1-1-4 0,1-1-8 0,0 0 12 0,1 1-4 16,0-2-8-16,0 1-4 0,0 0-8 0,0 0-12 0,1-1-12 0,0 0-24 16,0 0-28-16,0-1 4 0,0 2 8 0,0-2 12 0,1 0 8 0,-1 0 4 15</inkml:trace>
  <inkml:trace contextRef="#ctx0" brushRef="#br0" timeOffset="9221.5274">4091 8451 3 0,'1'-1'28'0,"-1"0"0"0,0-1-4 0,2 1 0 0,0 1-4 0,0 0 0 15,1-1 0-15,-1 0-4 0,2 1 0 0,1-1-4 0,-1 1 4 0,0 0-4 16,1 0-8-16,0 0 8 0,1 0 0 0,1 1 0 0,-2-1 0 0,2 1 0 16,-1-1-4-16,1 1 0 0,1 0 0 0,-1 1 0 0,0-1 0 0,0 0 0 15,1 1-4-15,-1-2 4 0,-1 1-4 0,1 1 4 0,0 0-4 0,-2-2 4 0,0 2 4 16,0-1 0-16,-1 1-4 0,-1 0 4 0,0-1 4 0,-1 3-4 0,-1-2 0 15,-1 1 0-15,0 0-4 0,-1 1 8 0,-2 1-8 0,1-2 4 0,-1 2 0 0,-2 0 4 16,1-1 0-16,-2 2-8 0,0-1 4 0,-1 0 4 0,2 0-12 16,-2 0 12-16,0 0-12 0,0 0 4 0,0 0 8 0,0 0-16 0,0-1 8 0,1 2 0 15,-2-2 0-15,3 2 0 0,-2-2-4 0,1 2 0 0,1-2 0 0,-1 1 0 16,1-1-8-16,1-1 12 0,1 1-8 0,1 0 4 0,1-1 8 0,1 0-8 0,1 0 0 15,0-1-4-15,3 0 8 0,0 1-8 0,1-2 4 0,1 0-4 0,0 2 0 16,2-2 8-16,-1 0-12 0,3 1 8 0,-1 0-4 0,0 0 0 0,1 0 8 16,1 0-8-16,-1-1 4 0,1 0-4 0,1 0 4 0,-1 1-12 0,1 0 12 15,1-1-4-15,-2 0-4 0,3 0 4 0,-2-1 0 0,1 0-12 0,-1 0 4 0,-1 0-8 16,1-1-4-16,-2 0-8 0,1 0-16 0,0-1-8 0,-2 0-8 0,-1 0-24 15,1-1-12-15,-1 0 8 0,-2 0 12 0,0 0 12 0,1-1 4 0</inkml:trace>
  <inkml:trace contextRef="#ctx0" brushRef="#br0" timeOffset="9685.554">3925 8812 35 0,'-13'2'36'0,"1"-1"0"0,-3 1-4 0,3-1 4 0,1 0-8 0,-3-1 4 16,3-1-4-16,-1-1-4 0,1 0 0 0,0 0 0 0,0 0-4 0,2-2 0 15,0-1 0-15,-1-1-4 0,2 0 0 0,1-1-4 0,-1-1 0 0,1-1 0 0,2-2 0 16,0 2 0-16,1-4 0 0,1 0-4 0,0-2-4 0,2 0 4 0,1-2 0 15,1-1-4-15,2-2 4 0,0-2-4 0,1 0 0 0,2-2-4 0,0 0 8 0,4-1-4 16,-1-2-4-16,1 2 4 0,3-1 0 0,1-1-4 0,2 2 0 0,1-3 0 16,2 2 0-16,1 1 0 0,1 0 4 0,3 0 0 0,1 2-8 0,1 1 0 15,1 1 8-15,0 0 0 0,1 1-4 0,2 4 4 0,-1 1-4 0,1-1 0 0,1 5 4 16,-1 1 0-16,1 2-8 0,-1 2 0 0,0 2 12 0,-1 2 0 0,1 2-4 15,-1 2 0-15,-1 1-4 0,-1 1 4 0,0 2-8 0,-1 1 0 0,-2 3 8 0,-1-1 0 16,-1 2-4-16,-3 1 4 0,0 3 4 0,-2-3-8 0,-2 4 12 16,-1-1-8-16,-2 1-4 0,-3 1 0 0,1 0 8 0,-3 0 0 0,-1 1 8 0,-2-1-8 15,-2 2 0-15,0-1-4 0,-2 0-4 0,-2 0 8 0,0 1 4 0,-2-1-4 16,-1 1 0-16,-2 0 0 0,-2 0-4 0,-1-1 4 0,0 2 0 0,-4-1-8 0,0 0 4 15,-1 0 0-15,-2 0 0 0,-1-1 0 0,-2-1 4 0,1 2 0 0,-4-2-8 16,0 0 0-16,0-1 0 0,-2 1 0 0,-1-2 0 0,0 1 8 0,-2-1-8 16,1-2 0-16,-1 0 0 0,0 0 4 0,1-1 0 0,-2-2-8 0,1 0-4 15,0-1 4-15,0 0-4 0,1-2 4 0,0 0 0 0,0-3-16 0,3 0-4 0,-2-1-8 16,1-1-8-16,2-1-8 0,1-2-12 0,2 0-32 0,1-1-8 0,1-1 12 15,1 0 8-15,2-1 12 0,1-2 8 0</inkml:trace>
  <inkml:trace contextRef="#ctx0" brushRef="#br0" timeOffset="40872.3378">6257 7641 7 0,'-3'-6'44'0,"-1"0"-4"0,1-1-8 16,0 2 4-16,0-2-8 0,-1 1 0 0,1 1 0 0,-2 0 0 0,1-1-4 0,0 2 0 16,0-1 0-16,0 1 4 0,0 0 4 0,0 0 0 0,0 1 0 0,0-1 0 15,1 1-8-15,-1 2-8 0,1-3 4 0,0 1-4 0,0 0 4 0,2 1-8 0,-2 1 4 16,2-1 0-16,1 1-4 0,0 0 4 0,0 1-4 0,1 0 0 15,1 1-4-15,0 0 8 0,1 1 4 0,0 0-4 0,0 1-4 0,1 2 8 0,1-1-4 16,2 2 4-16,0 1 0 0,0 0 0 0,0 1 0 0,3 2 0 0,-1-1 0 16,0 2 0-16,3 1-4 0,-1 0 4 0,0 0-4 0,2 2 0 0,0-1-4 0,0 2 0 15,1-1 0-15,-1 3-4 0,3-2 0 0,-1 0-4 0,0 2 8 0,0 0-4 16,2-1 0-16,-3 1-4 0,2 0 0 0,-1-1 0 0,1 0 4 0,-3 0 0 15,2 0-4-15,-1-2 0 0,-1 0 0 0,-1-1 0 0,1 0 0 0,-3-2-4 16,1 1 4-16,0-2 0 0,-2-2-4 0,-1 2 0 0,-1-3 0 0,2 1 4 0,-4-2 0 16,2 0 0-16,-2-1 0 0,0 1 0 0,0-2-4 0,-1 0 0 0,-1-1 0 15,0 0 4-15,-1 1-4 0,0-2 4 0,-1-1 0 0,1 1-4 0,-1-1 0 0,0 0 0 16,-1-1-4-16,0 0-4 0,0-1-8 0,-1 1-16 0,-1-2-16 0,1 0-20 15,0 0-16-15,-2-2-20 0,2 1-28 0,-2 0 4 0,1-1 12 0,-1 0 12 16,1 1 12-16,-2-3 16 0,2 4 8 0,-1-1 4 0</inkml:trace>
  <inkml:trace contextRef="#ctx0" brushRef="#br0" timeOffset="41388.3673">6835 8224 47 0,'-5'-4'44'0,"-2"-1"-8"0,1 3-4 0,1-3-4 0,1 3-4 16,1-1 0-16,0 0-4 0,1 1 0 0,0 0-4 0,1 0 0 0,0 1 0 15,1 0 0-15,0 1-4 0,2 0 0 0,-2 1 0 0,3-1 0 0,-1 2 0 16,2-1 0-16,0 1 0 0,0 0 0 0,2 1-4 0,-1 0 4 0,1 1 0 16,1 0-4-16,-1 1-4 0,2 0 4 0,-2-2 0 0,1 2 0 0,0 1 4 0,1-1-4 15,-2 0-4-15,0 1 0 0,0-1 8 0,-1 2-4 0,0-1 4 0,0 0-4 16,-2 1 0-16,0 0 4 0,-1 0 0 0,0 0 0 0,-2 1-12 0,0-1 12 15,-1 1-8-15,-1 0 4 0,0 0 0 0,-1-1 0 0,-1 1 0 0,-1 0-8 0,1-1 0 16,-2 0 4-16,1 1 4 0,-1-1-4 0,0 0 4 0,-1 0-8 16,0-1-4-16,0 1 4 0,0 0 4 0,0-1-4 0,-1-1 8 0,2 1-8 0,-1-1-8 0,0 0 4 15,1 0 4-15,0-1 0 0,1 1 8 0,0-2-8 0,0 0 0 0,1 1 0 16,2-3 0-16,-1 3 0 0,2-2 0 0,0 1 0 0,2-1 0 0,0 0 4 15,2-1-4-15,-1 2-8 0,2-1 8 0,1 0 0 0,0 0 4 0,0 0-12 16,2 0 4-16,0 1 8 0,0-1-4 0,1 1 4 0,-1-1-8 0,2 2 4 16,0-2 0-16,-1 1 8 0,1 0-4 0,1 0-8 0,-2 1 4 0,1-1 4 0,1 1-4 15,-2-1 4-15,1 1-8 0,-1 0 16 0,1-1-16 0,-1 1 12 0,-1 0-4 0,-1 0-4 16,2 0 8-16,-3 0-4 0,-1 0-8 0,0 1 8 0,-1 1-4 0,-1-2 4 15,0 1 0-15,-1 1 0 0,-2-1 0 0,1 0 0 0,-2 1-8 0,0 0 12 16,0 0-12-16,-2 0 4 0,0-1 4 0,-1 0 4 0,-1 2 0 0,1-1-12 0,-1-1 4 16,-1 1 0-16,0 0 0 0,-2-1-4 0,1 1-8 0,-1-1-4 0,0-1-4 15,-1 2-16-15,1-2-16 0,-2 0-12 0,-1-1-32 0,2 0-4 0,-3-1 8 0,2 0 12 16,0 0 12-16,-2 0 4 0,1-1 8 0</inkml:trace>
  <inkml:trace contextRef="#ctx0" brushRef="#br0" timeOffset="41813.3915">6337 8660 23 0,'-4'-9'32'0,"0"0"-8"0,-1-1 0 0,2 0-4 0,1-2 0 0,0 0 0 15,1-1 0-15,0-1-4 0,1-1-4 0,1 1 0 0,0-4-4 0,1 1 4 0,0-1-4 16,3 0 0-16,-1-2 0 0,1 0-4 0,0 0 0 0,3-1 0 0,-1 1 0 15,2-3-4-15,1 2 0 0,0-1 0 0,2 0 0 0,1-1 0 0,1 0 4 16,0 2 0-16,3-1 0 0,-1 1-4 0,3 0 4 0,0 1 0 0,3 1-4 0,0 0 0 16,2 2 0-16,0 1 4 0,1 2 0 0,2 0 0 0,0 3-12 0,1 1 8 15,1 1 4-15,-1 2 0 0,2 2 0 0,-2 1 0 0,2 3-4 0,-1 0 4 0,1 2-4 16,-3 0 0-16,2 3 4 0,0 2 0 0,-1 0-4 0,-1 1 0 15,1 1 4-15,-2 1 0 0,0 1-4 0,-2 2 0 0,0-1 4 0,-1 2 0 0,-1 0 0 16,-3 1 0-16,0 0 0 0,-2 0 4 0,-2 2-4 0,-1-1 0 16,-1 1 4-16,-2-1 0 0,-1 0 4 0,-3 1 0 0,-1 0 4 0,-1-1 0 0,-1 1 0 0,-1 0 8 15,-2 0 0-15,0 0-4 0,-2-1-4 0,-1 1 0 0,0-1-4 0,-2 1 4 16,-1 0 0-16,1-1 0 0,-3 1-4 0,-1 0 4 0,-1 0-8 0,0 0 4 15,-2 0 0-15,-1-1-4 0,0 1 0 0,-2-1 0 0,0 0 0 0,-2 0 0 16,1-1 0-16,-2 1 0 0,-1-1-8 0,-1 0 4 0,0 0 0 0,-1-2 8 0,0 1-8 16,-1-2 4-16,1 1-4 0,-3-2 0 0,2-2-8 0,0 2 4 0,0-2 0 15,-1-2 4-15,0 0 4 0,2 1-4 0,-1-3-8 0,0-1 4 0,2 0 0 0,-1-1-4 16,1 0 4-16,0-1-4 0,1-1 4 0,1-1 0 0,0-1-8 0,1 0 0 15,1-1 0-15,1 1-8 0,0-2-8 0,1-2-16 0,2 1-12 0,-1-1-20 16,3-1-36-16,0 0 8 0,1-1 8 0,0 1 12 0,2-3 12 0,1 2 4 0</inkml:trace>
  <inkml:trace contextRef="#ctx0" brushRef="#br0" timeOffset="46890.682">3661 8987 31 0,'3'-7'32'0,"-1"1"-4"0,-1 0 0 0,1 1-4 0,-1 0 0 0,1 0-4 15,-1 1 0-15,1 0 0 0,-2 2-4 0,0-1 4 0,2 2-4 0,-4 0 4 0,2 1-4 16,-1 1 4-16,-1 0 0 0,0 2 0 0,-2 0 0 0,1 2 4 0,-1 0 0 16,0 2 4-16,0 1 4 0,0 0-8 0,-2 3-4 0,1-1 4 0,-1 3-4 15,0 0-4-15,0 1 4 0,-3 1 8 0,1 1-8 0,0 1-8 0,0 1 4 16,-2 0 0-16,0 1 0 0,0 1-4 0,-1-1 4 0,-1 2-4 0,0 0 0 0,1 0 0 15,-1 1-4-15,0-1 0 0,1-1 0 0,-1 1 0 0,0-1-4 0,1-1 4 16,-1 0-16-16,2-1 16 0,0-1 0 0,-1 0-4 0,2-1 0 0,0-2 0 0,1 0 0 16,-1-2 0-16,2 0-4 0,0-1 0 0,2-1 4 0,-2-1-4 0,2-2 4 15,0 0-4-15,1-1 0 0,1 0-4 0,0-1 8 0,0-1-8 0,1-1 4 16,1 0 0-16,-2-2-4 0,2 1 8 0,1-1-4 0,0-1-4 0,0 0-8 15,0 0 0-15,0-1-12 0,0 1-8 0,1-2-4 0,-1 1-8 0,2-1 0 0,-1 0-4 16,0 0-16-16,-1 1-8 0,0-2-24 0,0 2 4 0,0-2 8 0,0 1 12 16,0 1 12-16,0 0 4 0</inkml:trace>
  <inkml:trace contextRef="#ctx0" brushRef="#br0" timeOffset="47254.7028">3173 9686 3 0,'-4'0'36'0,"0"0"-8"0,0 0-4 0,-1 1 0 0,-1-1 0 0,2 2-4 0,-1-1 0 15,0 1-4-15,-1 0 0 0,0 0 0 0,-1 1-4 0,1 1 0 0,0 0 0 16,-1 1-4-16,-1 0 0 0,1 0 0 0,0 2-4 0,0 0 4 0,0 0 0 15,0 1 0-15,0 1-4 0,2 0 0 0,-2 2 0 0,0-1 0 0,2 0-4 0,0 2 4 16,1 0-4-16,-1-1 4 0,1 1-4 0,0 1 0 0,0 0 4 0,2-1-4 16,-1-1 4-16,2 1-4 0,0 1 4 0,1-1-4 0,0-1 0 0,0 0 4 0,2 0-4 15,1-1 4-15,1 0 0 0,0-2-4 0,1 1 4 0,1-2 0 16,0-1-4-16,2 1 4 0,1-2-4 0,1-2 4 0,0 1 0 0,3-2 0 0,-2-2 0 15,2 1 0-15,1-2-4 0,0 0 4 0,0 0-4 0,1-2 4 0,1-1 0 16,-1 1-4-16,1-1 0 0,0-2 0 0,-1 2 0 0,-1-1 0 0,2-1 0 0,-1 0 0 16,0 0 0-16,-1 1 0 0,0-2 0 0,-1 2-4 0,0-1 4 0,-1 1 0 15,-2-1 0-15,1 1-4 0,-1-1 4 0,-1 2 0 0,-1-1 0 0,0 0-4 16,-3 1 0-16,1 1-8 0,-2-1 4 0,1 3-8 0,-4-3-16 0,1 3-4 15,-2-1-28-15,-1-1-4 0,-1 2 0 0,-1 0 12 0</inkml:trace>
  <inkml:trace contextRef="#ctx0" brushRef="#br0" timeOffset="47446.7138">3256 9810 15 0,'2'7'16'0,"-1"-1"-4"16,1 0 0-16,0 2 4 0,-1 0-4 0,1 2-4 0,-1-2-4 0,0 3 0 0,1 0 4 15,0-1-4-15,-2 1-4 0,2 1 8 0,1-1-4 0,-2 2 0 0,0 0 4 16,1-1 0-16,-1 0-8 0,1 2 0 0,0-1 0 0,0-1 0 0,0 1 4 0,-1 0 0 16,2 0-8-16,-1-2-4 0,0 0-12 0,0 0-12 0,-1 0-16 0</inkml:trace>
  <inkml:trace contextRef="#ctx0" brushRef="#br0" timeOffset="47858.7372">3001 10299 31 0,'-14'-2'28'0,"1"1"-4"0,0-2 0 0,1 0 0 16,-1 0-4-16,1-1 0 0,1 0 0 0,-1-1 0 0,2-1-4 0,-1-1 0 0,1 1 0 16,1-2-4-16,1 0 0 0,-1-2 0 0,2 0 0 0,1-2-4 0,1 1 4 15,0-4-4-15,1 1 0 0,0-2 0 0,3-2 0 0,0-1 0 0,1-1 0 16,1 0 0-16,2-2-4 0,1-1-4 0,2 0 4 0,1-2-4 0,2 0 4 15,2-1 0-15,2 1 0 0,2-4-4 0,2 3 4 0,2 0-4 0,0-1 0 0,4 0 0 16,0 1 0-16,2 1 0 0,1 0 0 0,0 3 4 0,2-1-4 0,1 2 0 16,0 1 0-16,1 2 4 0,0 2 0 0,1 2-4 0,-1 0 0 0,1 3 4 0,-1 1 0 15,1 3-4-15,-2 1 4 0,1 1-4 0,-1 3 4 0,-1 1 0 0,-1 1 0 16,-1 2-4-16,-2 2 0 0,-1 1 4 0,0 2 0 0,-5 1 0 0,1 2 4 15,-2 0-4-15,-2 1 0 0,-2 2 4 0,-2 0 0 0,-2 0 0 0,1 2-4 0,-4 0 4 16,0 0 0-16,-2 2 0 0,-2 0-4 0,0 1 8 0,-2 0 0 0,-1 0-4 16,-1 2 4-16,-1-1 0 0,-1 1 4 0,-1-1-4 0,-2 1 4 0,-1 0 0 0,0 0-4 15,-2-1-8-15,0 2 0 0,-2-1 12 0,-1 0-4 0,0 0 0 16,-1-2 0-16,-1 1 0 0,-1 1 4 0,0-4-12 0,-1 2-4 0,-1-1 12 0,0-2-12 15,0-1 12-15,-1 1-4 0,0-2-4 0,-1-1 0 0,0-2 0 0,0 0 0 16,-2-2-8-16,1 0 4 0,-1-2 8 0,1 0-8 0,-1-3-4 0,0 1 4 0,0-2 0 16,0-1-4-16,0 0 8 0,-1-1-8 0,3-2-16 0,-2 0-16 0,2-1-8 15,0-1-12-15,0 0-20 0,2-2-28 0,-1 1 4 0,1-1 12 0,2-1 12 16,-1 1 8-16,2 0 4 0,0-1 8 0</inkml:trace>
  <inkml:trace contextRef="#ctx0" brushRef="#br0" timeOffset="51761.9606">6513 8975 35 0,'7'-4'40'0,"-1"1"-4"15,0 0 4-15,-1 1-4 0,1-1 0 0,-2-1 0 0,-1 2-4 0,1-1 0 16,-2 1 0-16,1 0 0 0,-2 0 4 0,0 1-16 0,0 0 0 0,0 0 8 15,-2 1-4-15,1-2-8 0,-2 1 4 0,1 2 4 0,-1 1-4 0,0-2-4 16,0 2 8-16,-1 1-8 0,0 0 8 0,0 1-4 0,-1 2-4 0,0-1 0 0,-1 1 0 16,1 1 4-16,0 2-8 0,-2-1 0 0,2 2 0 0,-3 0 0 0,1 1 0 15,0 2 0-15,-1-1 0 0,0 1-4 0,-1 1 0 0,0 1 4 0,1 0-4 16,-3 2-8-16,1-2 4 0,1 2 8 0,0 0-4 0,-1 1 0 0,0 0-8 0,1-2 4 15,-2 1-8-15,3 0 4 0,0-1 0 0,-1 0 4 0,2 0-4 0,-2-2 0 16,2 1 0-16,0-1-4 0,1-1 8 0,0-1-8 0,-1 0 0 0,1-1 0 0,1 0 0 16,1-2-8-16,0 0 4 0,-1-1-8 0,2-1-8 0,-1-1 0 0,1 1-12 15,-2-2-8-15,3 0-8 0,-1-1-16 0,0 0-24 0,0 0-12 0,0-1 8 16,0-1 12-16,0 0 12 0,0 1 4 0,0-1 4 0</inkml:trace>
  <inkml:trace contextRef="#ctx0" brushRef="#br0" timeOffset="54264.1036">6083 9651 3 0,'0'-2'20'0,"0"0"0"0,0 0 0 15,-1 2-4-15,1-2 0 0,0 2 0 0,0-1 4 0,0-1-4 0,0 2 0 16,0 0-4-16,0 0 4 0,0 0-4 0,1 2 4 0,0-1 0 0,0 0-4 0,1 0 0 15,-2 2 0-15,2-1 4 0,-1 0-4 0,0 1 0 0,0-1-4 0,0 1 4 16,1 0 0-16,-1 1 0 0,-1 0 0 0,1 0-4 0,0 0 4 0,1 2 0 0,-2-2-4 16,2 1 0-16,-1 1 0 0,1 0-4 0,-1-1 4 0,1 1 0 15,0 1-4-15,0-2 4 0,0 2 0 0,-1 0-4 0,1 0-4 0,0 0 4 0,0 1-4 16,1-1 4-16,-1 0-4 0,1 1 4 0,0-1-4 0,1 1 4 0,-1 0-4 15,2-1 0-15,0 1 4 0,0-1 0 0,1 0-4 0,0 0 4 0,2 1-4 0,-2-1 0 16,3 0 0-16,-1-1 4 0,2 0-4 0,-1 0 0 0,0 0 4 0,2 0 0 16,-1 1-4-16,0-2 0 0,2 0 0 0,-2 0 0 0,0 0 0 0,2 1 4 15,-1-2-4-15,0 1 0 0,1-1 0 0,-2 1 0 0,0-1 0 0,1 0 4 16,-1 0-4-16,0 0 4 0,0-1 0 0,-2 1 0 0,0-1 0 0,0 0-4 0,-1 1 4 15,0-1 0-15,-2 0 0 0,-1 1-4 0,0-1 0 0,1 1 4 0,-3 0 0 16,0 0 4-16,0 0 0 0,-2 0 0 0,-1-1 0 0,0 2 0 0,-1 0 0 16,1-2-8-16,-4 2 8 0,2-1-12 0,-1 2 8 0,0-3 4 0,-1 1 0 15,-1 1 0-15,0-1 0 0,0 1-4 0,-1-1 4 0,0 0-4 0,-1 0 0 0,-1 0 0 16,1 0 0-16,0-1 0 0,-1 1 0 0,-1-1-8 0,0 0-4 0,0-1 12 15,-1 1 0-15,1-2 0 0,-1 1 0 0,-1-2-4 0,1 2 0 0,-1-2 4 0,1 0-4 16,-1-2 4-16,0 2 0 0,0-1-12 0,2 0-4 0,-3-1 8 0,2-1 4 16,-1 1-4-16,1-3 0 0,0 3 0 0,0-3 4 0,1 1-4 0,1-1-4 15,-1 1 4-15,1-3-4 0,1 1-4 0,1 0-4 0,-1-2-4 0,3-1 4 16,0-1-4-16,1 0 0 0,1 0 4 0,1 0 0 0,1-2 0 0,1 0 4 0,0 1 0 15,1-1 0-15,1 0 4 0,0-2 0 0,2 1 0 0,0 1 0 0,0-1 4 16,1 0 0-16,2 1 0 0,-1-1 4 0,1 0-4 0,-1 1 0 0,3 0 0 0,-1 0 4 16,-1 0 0-16,2 2 0 0,0-2 0 0,0 2 0 0,0-1 0 0,-1 2 0 15,2 2 0-15,-2-1 4 0,-1 2 0 0,3 1-4 0,-3 0 0 0,0 0 0 16,1 2 4-16,0 0-4 0,-1 1 0 0,0 0 0 0,0 1 0 0,-1-1 4 0,2 2-4 15,-2 0 0-15,1 0 4 0,-1 0 0 0,1 0-4 0,0 2 0 0,-2-2 0 16,2 1 0-16,-1 1 0 0,0-2 0 0,-1 2 0 0,0-1 0 0,1 1 0 0,-2-2 4 16,1 2 0-16,1 0-4 0,-2-2 0 0,0 1 0 0,0 1-4 15,-1-1 4-15,2 0-4 0,-2-1 4 0,0 0-4 0,0 1 4 0,1-1-4 0,-2 0-4 16,1 0-12-16,-1 0-8 0,0 0-20 0,-1 1-20 0,0-2 0 0,0 1 4 15,-1 0 4-15</inkml:trace>
  <inkml:trace contextRef="#ctx0" brushRef="#br0" timeOffset="54824.1356">6216 10300 31 0,'-12'8'28'0,"0"1"-4"0,0-1-4 0,-1-2 4 16,1 2-4-16,0-3-4 0,-1 1 0 0,1-1 4 0,-2-2-4 15,1 0-4-15,-1-1 4 0,1 0 0 0,0-1-4 0,-1-1 0 0,2-1 0 0,-2-1 4 16,2 0 0-16,0-1-4 0,-1 1 0 0,2-1 0 0,-2-1 0 0,4-1 0 15,-2 0-4-15,1 0 0 0,1-1 0 0,0-2 0 0,0 0-4 0,1 1 4 0,0-2-4 16,1-2 0-16,-1 1 4 0,2-2-4 0,0 0 0 0,1-1-4 0,0-1 4 16,2 0 0-16,0-2 0 0,-1 0-4 0,3-2 8 0,1-2-8 0,0 2 0 15,4-3 4-15,-1 0-4 0,1-1 4 0,2-1-4 0,1 0 4 0,1-1 0 16,4-1-4-16,-1 1 0 0,3-2 4 0,0 0-4 0,2 0 0 0,1 1 4 0,2-1-4 15,0-1 0-15,3 1 0 0,1 0 0 0,2 1 4 0,-1 0 0 0,3 1-4 16,1 0 0-16,0 2 4 0,1 0 0 0,2 2 0 0,0 1 0 0,1 1 0 0,1 2-4 16,-1 2 0-16,1 1-4 0,0 2 8 0,0 1-4 0,1 2 4 15,-1 1-4-15,0 3 0 0,-2-1 4 0,1 4-4 0,-2 0 0 0,1 3 4 0,-2 0-8 16,-1 3 4-16,-1 0 4 0,-1 1 0 0,0 3 0 0,-2 0 0 0,0 1 0 15,-2 0 0-15,-1 3 0 0,0-1-4 0,-3 1 8 0,0 1-8 0,-2 1 0 0,-2 0 8 16,0 0 0-16,-2 1 0 0,-2 1-4 0,-2 0 0 0,0-1 4 0,-3 3-8 16,-1-2 8-16,-2 1 4 0,-1 1 0 0,-2 1-8 0,-1-1 0 0,-1 0 0 15,-1 0 8-15,-3 1-8 0,0 0-4 0,-2 0 4 0,-1 0-4 0,-2-1 0 16,-1 2 8-16,-1-1-4 0,0 1-4 0,-3-2 0 0,0 1 4 0,-1 0-4 0,0 0 0 15,-2 0 0-15,0-1 4 0,-1-1-8 0,1 0 12 0,-2 0-4 0,2-2-4 16,-3 0 8-16,1-1-8 0,0-1-4 0,1 0 12 0,-3-2-12 0,2-1 8 0,1 0 0 16,-2-3-8-16,0 0 0 0,1-1 0 0,1 0-4 0,-1-4 8 0,0 1 8 15,2-3-8-15,0 2-8 0,-1-3 12 0,2-3-12 0,0 2 4 0,1-2 0 16,1-1-12-16,-1 0-8 0,3-2-4 0,-1-1-8 0,2 0-4 0,0-1-4 0,2-1-20 15,0 1-24-15,1-2 4 0,2 1 8 0,0-2 8 0,1 1 8 0,2-1 8 16</inkml:trace>
  <inkml:trace contextRef="#ctx0" brushRef="#br0" timeOffset="55468.1726">7339 9101 15 0,'0'-1'16'0,"0"0"0"0,1 1 0 0,-1-1 0 16,2 2-4-16,-1 0 4 0,0 0 0 0,1 1-4 0,-1 2 0 0,3 0 4 0,-2 1 0 16,2 1-4-16,-1 0 0 0,2 2 0 0,-1 0-4 0,2 1 0 15,-1 0 0-15,1 0 0 0,0 2 0 0,-1-1 0 0,3 1 0 0,-1 0 0 0,-1 1 0 16,1 1 0-16,0-1 0 0,1 1 0 0,0-1 0 0,-1 1 0 0,1 0 0 15,0 0-4-15,-1 0 4 0,1-1 0 0,0-1 0 0,0 2-4 0,-1-2 0 0,0 0 4 16,0 0 0-16,0-1-4 0,0-2 4 0,-1 2 0 0,0-2-4 0,0-1 0 16,1 0 0-16,-3 1 0 0,1-2 0 0,0 0 0 0,-1-2 0 0,0 1 0 15,2 0 0-15,-3-2 0 0,0 1-4 0,0-2 4 0,0 1 0 0,-1 0 0 16,1 0 0-16,-2-2-4 0,1 1 4 0,0-1 0 0,-2 0-4 0,2 0 4 0,-1-1-4 15,-1 0 0-15,1-1 0 0,-1 0 0 0,1 1 0 0,-1-3-4 0,-1 2-8 16,1-2-8-16,-1 0-8 0,0 0-28 0,0 1-24 0,0-3 0 0,-1 2 8 0,0-1 12 16,1 0 8-16</inkml:trace>
  <inkml:trace contextRef="#ctx0" brushRef="#br0" timeOffset="56656.2405">7953 9562 3 0,'3'-7'44'16,"1"-1"-4"-16,-1 1-4 0,-1 0-4 0,1 0-4 0,-2 1-4 0,1 1 0 0,-1 0-8 15,0 2 4-15,-1 0-8 0,-2 2 0 0,0 1 0 0,1 0 4 0,-3 3-4 16,0-1-4-16,-2 3 4 0,2 1-4 0,-3 1 0 0,0 2-4 0,-1 0 4 15,0 2 0-15,0 1 0 0,-1 2-4 0,0-1 4 0,0 4-4 0,1 0 4 16,-1 0-4-16,0 1 0 0,0 2-4 0,0 1 4 0,0-1 0 0,0 1 0 0,0 2 0 16,2-1-4-16,-2 0 0 0,2 1 4 0,0-1 0 0,0-1 0 0,1 1-4 15,1-2 4-15,1 0-4 0,0-2 0 0,2 2 0 0,0-3 0 0,1-1 0 0,1 1 4 16,1-2-4-16,2-1 4 0,-1-2-4 0,1 1 0 0,2-3 4 15,1 0 0-15,1-1 0 0,-1-2 0 0,2-2-4 0,2-2 4 0,-1 2 0 0,0-4 0 16,1 0 0-16,0-2-4 0,1 0 0 0,0-2 4 0,0 0 0 0,-1 0 0 16,2-1 0-16,-2-2-4 0,0 1 4 0,0-1 0 0,-1 1 4 0,-1-2-4 0,0 1 4 15,0-1 4-15,-1 0-4 0,-1 0 4 0,-1 1-4 0,0-1-4 0,-1 0 4 16,-1 0-4-16,-1 1 0 0,-2 0-4 0,-1 1 8 0,-1-1 0 0,-2 2-8 15,-1 0 0-15,0 0 4 0,-1 1-4 0,-2 1 0 0,0 0 4 0,-1-1 0 16,-1 2-4-16,-1 0-4 0,1 0 4 0,0 1 0 0,-2 0 0 0,1 0 4 0,1 1-8 16,-3 0 0-16,3-1 0 0,0 1 4 0,-1-1-4 0,1 3 4 0,0-1-8 15,1 0 0-15,0 0 0 0,2 2-4 0,-1-1-4 0,1-1-4 0,2 3-4 0,0-1 0 16,1 0-12-16,1 0-4 0,1 1-8 0,-1 0-28 0,3-1 0 15,-1 0 4-15,2 2 8 0,-1-2 8 0</inkml:trace>
  <inkml:trace contextRef="#ctx0" brushRef="#br0" timeOffset="57041.2626">7703 10197 23 0,'-9'0'36'0,"-1"0"-4"0,-1-1-4 16,2 1-4-16,-2-2 0 0,-1 0-4 0,2-2 0 0,-2 1 0 0,1-1-4 16,-1 1 0-16,0-3 0 0,1-1-4 0,0 0 0 0,-2 0 0 0,2-2 0 0,0 0 0 15,-2-2-4-15,3 0 0 0,-2-1-4 0,2-1 4 0,1-2-4 0,-1 1 4 16,2-3-4-16,1 1 0 0,0-1 0 0,1-1-4 0,1 0 4 0,0-2 0 15,2 1 0-15,2-2 0 0,0 0 0 0,2-1 0 0,0 0 0 0,2 0 4 16,2-1 0-16,3 0 0 0,0 0-4 0,3-1 0 0,3 0 0 0,1 1 0 0,3-1 0 16,1 1 0-16,4 1 0 0,2 0 0 0,1 1-4 0,2 1 0 0,2 2 0 15,0 0 0-15,2 2 0 0,1 0 0 0,2 3 0 0,-1 0 0 0,3 0 0 0,-1 3 4 16,2 0-4-16,-1 2 0 0,0 1 0 0,1 2 4 0,-1 0-4 15,1 2 0-15,-2 1 0 0,0 2 0 0,0 3 0 0,-2 0 0 0,-2 2 0 0,-1 2 0 16,-2 0 0-16,-2 2 0 0,-2 2 4 0,-2 0-4 0,-4 2 4 0,-1 1-4 16,-3 1 4-16,-1 2-4 0,-3-1 4 0,-1 2-4 0,-2 0 0 0,-3 2 4 0,-1-1 0 15,-3 2 0-15,0 0 0 0,-3 1 0 0,0-1 0 0,-3 3 0 0,-1-2-4 16,-2 1 0-16,-1 0 4 0,-1 0 4 0,-2 0-4 0,-1 1-4 0,-3-1 0 15,0-1 4-15,-1 2-4 0,-1-2 0 0,-2-1-4 0,-1 1 4 0,-1-1 0 16,-1-1 0-16,-1 0 0 0,-1-1 4 0,1-1-4 0,-2 0-4 0,-1-2 0 0,0 0 4 16,0-2 0-16,-1 0 0 0,0-2 0 0,0-1-4 0,0 0 4 0,0-3 0 15,0 0-4-15,1 0 0 0,0-2-4 0,1 0 0 0,1-3-4 0,1 2-4 0,0-2-8 16,1 1-4-16,2-3-12 0,0 1-28 0,1-2-12 0,2 0 8 15,2 0 0-15,0-2 16 0</inkml:trace>
  <inkml:trace contextRef="#ctx0" brushRef="#br0" timeOffset="57421.2843">7484 10485 47 0,'7'-11'48'0,"0"1"-8"0,0 0-4 0,-1 2 0 0,0-1-12 0,0 0 0 16,0 3 0-16,-2-1 0 0,1 0-4 0,-2 2-4 0,-1 2-4 0,0 0 4 16,-2 2-4-16,0 1 0 0,-2 0 0 0,0 3-4 0,-1 1 0 0,-2 1 0 0,0 2 0 15,-2 1 0-15,0 2-4 0,1 0 4 0,-1 2 0 0,-2 0-4 0,2 2 0 16,-1 1 0-16,-1-1 0 0,0 2 0 0,1-1-4 0,0 2 4 0,0 0-4 15,-2 0 4-15,2 2-4 0,0-2 0 0,-1 1 0 0,2-1 0 0,-1 1 0 16,2 0-4-16,-2-2 4 0,2 0 0 0,1-1 4 0,0 0-4 0,1-2-4 0,-1 0 4 16,3 0 0-16,0-3 0 0,-2 0-4 0,3-1 4 0,0-1 0 0,1 1-4 15,0-4-4-15,0 1-8 0,2-3-8 0,-1 1-20 0,2-3-28 0,-2 1-8 0,1-2 4 16,-1-2 8-16,1 1 8 0</inkml:trace>
  <inkml:trace contextRef="#ctx0" brushRef="#br0" timeOffset="58603.3519">7217 11233 19 0,'9'9'28'0,"-1"0"-4"0,1 1 0 15,0 0 0-15,0 0-8 0,-1 2 0 0,1 0 0 0,1 0 0 16,-1 0-4-16,-1 1 0 0,1 0 0 0,0 0 0 0,-2 0-4 0,-1 0 4 0,2 2-4 16,-1-3 0-16,-2 1 0 0,0 0 0 0,-1 0 0 0,0-1 0 0,0-1-4 15,-2 0 0-15,0 1 0 0,-1-2 4 0,-1 0 0 0,0 0 0 0,-2 0 0 0,0-2-4 16,-1 2 4-16,0-3 0 0,-1 0 0 0,0 0 0 0,-1 0 0 0,0-1 0 15,-1-1 0-15,-2 1 0 0,2-3-4 0,-1 2 4 0,-1-2 0 0,0-1 0 16,0 1 0-16,0-2-4 0,0-1 4 0,-1 0 0 0,1 0 4 0,0-1-4 0,0-1-4 16,0-1 4-16,0 0 0 0,2-2 0 0,-1 0-4 0,0-1 0 0,3-1-4 15,-1 0 8-15,1-2-4 0,0-1 0 0,2-1 0 0,0 0-4 0,1-2 4 0,1-1-4 16,1 0 4-16,1-1 0 0,0-1 0 0,2-1 4 0,0 0-8 15,0-2 4-15,1 1-4 0,2-1-4 0,0-1 8 0,-1 0 0 0,1 1 0 0,0-1 4 16,2 0-4-16,-2-1-4 0,0 1 16 0,0 1-8 0,1 1 4 0,-1-2 0 16,-1 3 4-16,1-1-4 0,-1 1 0 0,0 1 0 0,-2 0 0 0,0 0 0 0,-2 3 0 15,1-1 0-15,-2 1 0 0,-1 2-8 0,0 0 8 0,-1 1-12 0,-2 1 4 16,0 2 0-16,-1 0 4 0,-1 1-4 0,-3 1-8 0,2 2 4 0,-2 0 0 0,0 1 4 15,-2 1-4-15,0 0 4 0,1 2 0 0,-3 0-4 0,1 0-4 16,-1 1 4-16,-1 1 4 0,1-1-4 0,-1 2 0 0,1 0 0 0,-1 0-4 0,0 0 4 16,2 0-4-16,-2 2-4 0,2-2 8 0,-1 2-4 0,1 0 0 0,1 0 0 15,1 0-4-15,-1 0 0 0,2 0 0 0,-1 1-12 0,3-1-12 0,-2 1-4 0,3-1-8 16,0 0-8-16,1 1-8 0,-1-1-36 0,3 1 4 0,0-1 8 0,1 1 12 15,0-1 12-15,2 0 0 0</inkml:trace>
  <inkml:trace contextRef="#ctx0" brushRef="#br0" timeOffset="59056.3778">7048 11743 3 0,'-13'5'36'0,"-2"1"-8"0,1-2 0 0,-2-1 0 0,2 0-4 0,-4-1-4 0,3-1 0 15,-2-2-4-15,0-1 0 0,0 0 0 0,0-2 0 0,1 0-4 0,-2-3 4 16,3 0 0-16,-3-3-4 0,3 1 0 0,-2-2 0 0,2-2-4 0,1-1 4 16,1 0 0-16,0-1 0 0,2-2-4 0,2 0 0 0,0-1 4 0,3-1 0 15,1 0-4-15,3-3 0 0,1 1-4 0,2-3 0 0,1 1 0 0,4-1 0 0,3 0 0 16,0-1 0-16,2 0-4 0,4-2 4 0,0 3-4 0,5-3 4 0,0 2-4 15,3-1 4-15,2 2-4 0,2-1 0 0,1 2 0 0,3 0 4 0,1 2-4 0,1 0 0 16,2 3 0-16,1 0 0 0,1 2 0 0,3 1 4 0,0 1-4 16,0 3 4-16,2 0-4 0,-1 3 4 0,1 1-4 0,0 1 0 0,-1 2 0 0,1 1 4 15,-2 3-4-15,0 0 4 0,-3 2 0 0,0 2 0 0,0 1-4 0,-3 2 0 16,-1 1 4-16,-2 1-4 0,-1 3 4 0,-3-1 0 0,-1 3 0 0,-3 0-4 0,-1 1 8 15,-1 2-8-15,-4 0 4 0,0 0 8 0,-3 1-4 0,-2 1 4 0,-3-1-8 16,-2 1 8-16,-2 1-4 0,-3-1 4 0,-1 1 0 0,-3 0 0 0,-1 0-8 16,-2 1-4-16,-2-2 12 0,-2 1-4 0,-2 0-4 0,-1 0 0 0,-3-1 4 15,0 1-4-15,-2-1-4 0,-1-1 0 0,-1 0 0 0,-2 0 4 0,0-1 4 0,-1-1 0 16,-1 0-4-16,-1-1 0 0,1-1 0 0,-3-1 0 0,1-1 0 0,-1 1-4 15,0-3 4-15,1-1-8 0,-3 0-8 0,1-1 8 0,-1-1 0 0,0 0-4 0,-1-3 0 16,0 1 8-16,0-2-8 0,-1 1 8 0,0-3 0 0,1 1-8 0,1-2 0 16,-1 0 0-16,2-1-8 0,-1-1-4 0,1-2-4 0,0 2-4 0,1-2-4 15,1 0-12-15,1-1-4 0,1 0-24 0,0 0-12 0,1 0 4 0,1-2 12 0,1 1 8 16,1-1 8-16</inkml:trace>
  <inkml:trace contextRef="#ctx0" brushRef="#br0" timeOffset="59810.4209">3515 10390 11 0,'9'3'40'0,"-1"0"0"0,0 1-4 0,1 0 4 0,2 2 0 15,-2-1-8-15,1 0 0 0,1 3-4 0,-1-2 4 0,0 0-8 0,2 3 4 16,-1-1-4-16,1 1-4 0,0 0 0 0,0 0 4 0,0 1-4 0,1 0-4 0,-1 0 0 15,1 1-4-15,0 0 0 0,1-1 4 0,-1 1-8 0,0 1 0 0,0-2 0 16,-1 1 4-16,2-1 0 0,-1 1-8 0,0-1 0 0,-1-2 4 0,2 2 0 16,-3-1-8-16,0-1-4 0,2 1 8 0,-2-1-4 0,-1-1 0 0,1 0-4 15,-2-1 12-15,0 0 0 0,0 0 0 0,-1-1 0 0,0-1-12 0,-2 1 0 0,1-1 0 16,-1-1 8-16,-1 0 4 0,0-1 0 0,-1 1 0 0,-1-1-8 0,0-1-8 15,-1 1 8-15,1-2-8 0,-3 0 12 0,0 0-4 0,0 0-16 0,0-2-8 0,-3 2-8 16,1-1-16-16,0-2-20 0,-1 0-28 0,-1-1 4 0,0 2 12 16,-1-1 8-16,1-1 8 0,-1 0 4 0</inkml:trace>
  <inkml:trace contextRef="#ctx0" brushRef="#br0" timeOffset="61093.4943">4141 10933 27 0,'-7'-1'36'0,"1"2"-4"16,0-1-4-16,-1 0 0 0,1 0 0 0,-1 0-4 0,1 2-4 0,-1-2 4 15,1 1-4-15,-1 0-4 0,0-1 4 0,2 1-12 0,-1 1 8 0,0-1 0 0,1 1 0 16,0-1 0-16,0 1-8 0,2-1 0 0,0 0 0 0,-1 0 0 0,2 1 0 16,-1 0 0-16,2 0-4 0,0 0 4 0,1-1-4 0,1 1 4 0,0-1-4 0,2 2 4 15,1-2-4-15,0 1 0 0,2 0 4 0,-1-1-4 0,4 1 0 0,-1-1 0 16,0 1 4-16,3-1-4 0,0 1 0 0,0-1 4 0,2 0 0 0,-1 0 0 0,2-1 0 15,0 1-4-15,1 1 0 0,-1-1 0 0,1-1 0 0,1 0 4 0,1 1-8 16,-2 0 8-16,2-1-4 0,-2 2 0 0,1-2 4 0,0 1-4 0,-1-1 0 16,-1 1 4-16,1-1-8 0,-1 0 12 0,-1 0-12 0,0 0 8 0,-2 0-8 15,1 0 12-15,-2 1-12 0,-1-1 0 0,-1 0 8 0,1 1 8 0,-2 0 0 0,-1 2 0 16,-1-1-4-16,1 1-4 0,-3 0 0 0,1 2 0 0,-2-1 0 0,-1 3 8 15,0-2-12-15,-1 2 8 0,0 1-8 0,-2-1 8 0,0 1 0 0,0 1 0 0,0 0 0 16,-1 0-4-16,-1 1-4 0,0 0-4 0,0 1 8 0,0-1-4 16,-1 2 0-16,1-1 0 0,-1 0 0 0,0 2 0 0,0-2 0 0,0 0 4 0,0 1-4 15,0 0 4-15,0-1-8 0,0 0 4 0,0-1-4 0,1-1 4 0,0 1-4 16,0-2 0-16,0 0 4 0,1 0-8 0,1-2 4 0,-2 1 0 0,2-1 4 0,-1-1-4 15,2 0 0-15,0-1 0 0,-1 0 0 0,1-1-4 0,1 0 4 0,-1 0 4 16,0-1-8-16,1 0 4 0,0-1 4 0,0 0-8 0,1-1 4 0,-1 0 4 16,1 0-8-16,-1-1-8 0,1 0 0 0,0 0 4 0,0-2-8 0,0 1-8 15,0-1-12-15,1 0 0 0,-1-1-12 0,0 1 0 0,0-1-8 0,0 0-16 0,-1-1-16 16,2 0-8-16,-1 0 12 0,-1 1 8 0,0-3 12 0,0 2 4 0</inkml:trace>
  <inkml:trace contextRef="#ctx0" brushRef="#br0" timeOffset="63877.6536">4240 11293 15 0,'-5'3'32'15,"-1"-1"-4"-15,1-1-4 0,-1 1 0 0,1-2-4 0,-1 2 0 0,-2-2 0 16,2 0-4-16,-1 0 0 0,0 0-4 0,0 0 4 0,-2-2-4 0,1 1-4 0,1-1 4 15,-2 1-4-15,0 0 4 0,1-2-4 0,0 1 0 0,-1-2 0 0,1 1 0 16,0 0 0-16,1-2 4 0,-2 2 0 0,2-2-4 0,0 1 0 0,0-3 4 16,-1 2-4-16,3-1 4 0,-2-1-4 0,1-1 4 0,1 1-4 0,-2-2 0 0,2 1 0 15,0-2 0-15,0 0 0 0,1 1 0 0,0-2 0 0,1-1 0 0,0 0 0 16,-1 0-4-16,2 0 0 0,0-2 0 0,1 1 0 0,0-1 0 0,1-2-12 15,1 1 12-15,1-1 0 0,0 0 0 0,1 0-4 0,2-2 4 0,0 1 0 0,0 0 0 16,2-2-4-16,0 2 4 0,3-1 0 0,-1-1-4 0,2 2 0 0,2-2 0 16,0 1-4-16,2 1 4 0,0-1 0 0,2 1 0 0,1 0 0 0,2 0 0 15,0 1 0-15,1 0 4 0,1 1-4 0,1 1 0 0,1-1 0 0,0 4 0 0,1-1 0 16,1 1 0-16,0 1 0 0,1 1 4 0,0 1-4 0,-1 2 0 0,1 0 0 15,1 1 0-15,-1 3 0 0,-1 0 0 0,1 1 0 0,-1 4 4 0,-1-2-4 16,-1 2 0-16,1 2 0 0,-2 1 4 0,-2 1-4 0,1 1 0 0,-1 2 8 16,-3 1-8-16,0 1 4 0,-1 0-4 0,-2 2 0 0,-1 0 0 0,-2 2 8 0,-1 0 0 15,-1 2 0-15,-3 0-4 0,0 0 0 0,-2 1-4 0,-2 0 4 0,0 2 0 16,-3 0 4-16,0 0 0 0,-2 0-8 0,-1 1 0 0,-2 0 8 0,-1 2-8 0,-1-2 0 15,-3 0 8-15,1 2 0 0,-2-1-4 0,-2 2 16 0,0-2-4 16,-3 0 0-16,1 2 0 0,-3-1-4 0,1 0-4 0,-3 1 0 0,-2-2-4 0,2 1 0 16,-2 0 8-16,-2-1-4 0,1 1-4 0,-1-2 4 0,-2 0-8 0,1 0 16 15,-2 0-8-15,1-2 0 0,-1 1-8 0,0-3 12 0,0 0-12 0,-1-1 12 0,0 0-8 16,1-2 4-16,0 0-8 0,-1-3 0 0,1-1 8 0,0-1-8 0,2 0-8 15,0-3 8-15,0-2 4 0,1 0 0 0,1-1-4 0,2-2-4 0,-1 0 0 16,2-2 0-16,2-3-4 0,0 0-4 0,3 1-12 0,-1-2-16 0,3-1 0 16,0 0-8-16,2 0-12 0,2-2-16 0,-1 1-24 0,3-1 4 0,2 0 8 0,0 0 12 15,1 1 8-15,1 0 4 0</inkml:trace>
  <inkml:trace contextRef="#ctx0" brushRef="#br0" timeOffset="64284.6769">3909 11765 15 0,'5'-8'28'0,"-1"1"0"0,2 1-4 0,-3 0 0 16,0 0 0-16,0 2-4 0,-1-1-4 0,0 4 0 0,-2-2 0 0,0 2-4 16,0 2 4-16,-3 1-4 0,1 0 4 0,-2 3-4 0,-2 2-4 0,1 0 4 0,-1 1 0 15,0 2-4-15,-2 1 0 0,-1 1-4 0,1 2 8 0,-1 0-4 0,-2 1-4 16,0 2 0-16,1 0 0 0,-3 2 4 0,2-1-4 0,-2 1 4 0,0 1-4 0,1-1 4 15,-2 2-4-15,1 0 0 0,-1-1 0 0,1 2 0 0,1-1 0 16,-1-1-4-16,1-1 0 0,0 0 4 0,1-1-4 0,0 0 0 0,1-3 0 0,1 1 0 16,0-3 0-16,2 0 0 0,-1-1-4 0,3 0 4 0,-1-3 0 0,2 0-4 15,1-1-4-15,-1-2-4 0,2 0-12 0,-1-1-16 0,2-1-20 0,1-1-16 0,-1-2 8 16,1 2 8-16,1-3 4 0</inkml:trace>
  <inkml:trace contextRef="#ctx0" brushRef="#br0" timeOffset="64806.7067">3418 12769 15 0,'5'-11'36'0,"0"-1"-4"0,1 1 4 0,-1-1-4 0,-1 1 0 16,0 0-8-16,-1 0 4 0,0 0-4 0,-1 1 0 0,0-1-4 0,-1 1 0 15,-2 1-4-15,1 0 0 0,-2 0 0 0,1 2-4 0,-2-1 0 0,0 2 0 16,-1 0 0-16,0 2 0 0,-1 0-4 0,-2 1 0 0,1 2 0 0,-2-1 4 16,1 2-4-16,-2 2 0 0,0-1-4 0,0 1 4 0,0 2-4 0,-1 0 0 0,0 0 4 15,0 0-4-15,0 2-4 0,0-1 4 0,1 1 0 0,-1 1-4 0,2 0 0 16,-1-1 4-16,2 2 0 0,-2-1-4 0,3 0 4 0,-1 0-4 0,2 1 0 0,0-1 4 15,1 0 0-15,1 0-4 0,0-2 0 0,2 2 0 0,1-3 0 16,0 2 0-16,2-1 0 0,0-1 4 0,3-1-4 0,0 0 4 0,0-1-4 0,2 1 0 16,0-1 0-16,3-1 0 0,-1 0-4 0,0 0 4 0,1-1 0 0,2 1 0 15,-2-1 0-15,3 0 0 0,-2 0 0 0,1 0 0 0,0 0 0 0,0 2 0 0,1-2 0 16,-1 1 0-16,-1 0 0 0,1 1 0 0,-1-1 0 0,0 1 4 0,0 0 0 15,-1 1 0-15,-1 1 0 0,1 1 0 0,-2 0 4 0,1 1 0 0,-1 0-4 16,-2 1 0-16,0 2-4 0,-2-1 4 0,1 1-4 0,-2 1 0 0,-1 0 0 16,0 1-4-16,1 0 8 0,-3 1-4 0,0 0 0 0,0 1 0 0,0-1 0 0,0 1 4 15,-2-1-4-15,0 1 0 0,0-1 0 0,1 1 0 0,-1-1 0 0,1 0 0 16,-1-1 0-16,0 0 0 0,1 0-4 0,-1-2 4 0,0 1 0 0,1-1 4 0,-1-1-4 15,1 0-4-15,0-1 4 0,0 0-4 0,0-2-4 0,0 1 4 16,0-2-4-16,1 0-8 0,0-1-4 0,0 0-8 0,-1-2-12 0,1 1-16 0,-1-2-16 16,0 0-12-16,-1 0 8 0,1 0 8 0,1-2 12 0,-1 2 4 0</inkml:trace>
  <inkml:trace contextRef="#ctx0" brushRef="#br0" timeOffset="65244.7318">3108 13368 23 0,'-15'0'36'0,"-2"-2"-4"16,0-2-8-16,1 1 4 0,0-2-4 0,-1-1 0 0,2-1-4 0,-1-1 0 0,0-2-4 15,2 1 8-15,-1-3-8 0,2-1 0 0,0-1 4 0,1 0-4 0,1-2 0 16,1-1 0-16,2 0 0 0,0-3 0 0,2 1-4 0,0-2-4 0,1-1 0 0,2 0 0 15,1-2 0-15,1 0 0 0,2-1-4 0,0-1 4 0,2-2-4 16,4 1 0-16,1-2 0 0,1 0 4 0,5-2-4 0,0 0 0 0,4 0 0 0,1 0 0 16,3 0-4-16,3 0 4 0,0 1 0 0,2 1 0 0,5-1-4 0,-1 3 0 15,1-1 0-15,2 2 0 0,1 1 0 0,1 1 4 0,1 0-4 0,1 4 0 0,1-1 0 16,-2 2 0-16,2 2 0 0,0 1 0 0,1 2 0 0,-1 1 0 0,0 2 4 15,-1 2-4-15,1 2 0 0,-1 2 0 0,-2 2 0 0,0 1 0 0,-3 2 0 16,-1 3 0-16,-2 1 0 0,-1 3 0 0,-2 0 4 0,-4 3-4 0,1 0 0 16,-5 2 0-16,-1 1 4 0,-2 2-4 0,-1 0 4 0,-4 2 0 0,0 1 0 0,-3 1 0 15,-3 1 0-15,-1 1 0 0,-1 1 0 0,-3 0 4 0,-1 0-4 0,-2 2 8 16,-1 1-8-16,-3 0 0 0,0-1 0 0,-3 1-4 0,-1 1 4 0,-1-1 4 0,-2 1 4 15,-1 0-12-15,-2 0 0 0,-2-1 0 0,1 0 4 0,-2 0-4 16,-2-1 8-16,1 1 4 0,-1-1-4 0,-2 0 4 0,1-2-16 0,-2-1 8 0,-1 0 4 16,1-2-12-16,-1-1 12 0,0 0-12 0,0-2 8 0,-2-1-4 0,2-2 4 15,-1-1-4-15,-1 0 4 0,0-2-4 0,0-2 4 0,0-1-12 0,0-1 12 0,0-2 0 16,1 0-8-16,-1-1-12 0,0-3-12 0,2-1-12 0,0-1-20 0,0-2-36 15,2-1 0-15,1-1 12 0,0-2 8 0,1-2 4 0,2-1 8 0</inkml:trace>
  <inkml:trace contextRef="#ctx0" brushRef="#br0" timeOffset="68569.9219">10484 6925 31 0,'-6'2'32'0,"1"-1"-4"0,1 1-4 0,-1 0-4 0,1-1 0 15,0 0-4-15,-1 1-4 0,2 0 0 0,-1-1 0 0,1 1 0 0,-1 1 0 16,2-1-4-16,-1 1 0 0,0 0 0 0,1-1 0 0,-1 1 0 0,1 0 0 0,-1 0-4 16,2 1 4-16,0-1-4 0,1 1 0 0,1-1 0 0,0 1 0 0,3 0-4 15,-2 0 4-15,0 0 0 0,3 0-4 0,-2 1 0 0,2-1 4 0,-1 1 0 0,2-2 0 16,-1 1 0-16,2 2-4 0,0-2 4 0,-1 1 0 0,1-2-4 0,2 0 4 15,-1 1-4-15,1-1 0 0,1-1 4 0,0 0 0 0,0-1-4 0,1 0 4 16,-1 0-4-16,2-1 0 0,-1 0 0 0,1-2 4 0,1 1-4 0,-1-1 0 16,0 0 4-16,1-1 0 0,-1 0-4 0,2-1 0 0,-2-1 0 0,-1 1 0 0,3-2 0 15,-3 0 0-15,2 0 0 0,-2 0 0 0,0-1 4 0,0 0-4 0,-1-1 0 16,0 1 0-16,-1-1 0 0,0 0 0 0,-1 1 4 0,-1-1-4 0,0 0 4 0,-1 0-4 15,-2 1 4-15,1-2 0 0,-2 1-4 0,-2 0 4 0,1-1 0 16,-1 2 0-16,-1-1 0 0,-2 0 0 0,1 1-4 0,-3 0 4 0,0-1 0 0,-1 2 0 16,0 0 0-16,-3-1 0 0,1 2 4 0,-1 1 0 0,-1-1 0 0,-1 1 0 15,0 1-4-15,-1-1 4 0,-1 2 0 0,0 0-4 0,-2 0 4 0,2 1 0 0,-3 0-4 16,1 1 4-16,0 0-4 0,-2 1 0 0,1 0 0 0,0 1 0 0,0 0 0 15,-1 1-4-15,1 1 0 0,1 0 4 0,0 0 0 0,-1 1-4 0,2 0 0 16,-2 0 0-16,3 2 0 0,0-1 0 0,1 0 0 0,1 1-4 0,0-1 0 0,1 1 0 16,2 0 0-16,1 0 4 0,1-1 0 0,0 0-8 0,3 0-12 0,1-1-8 15,1 0-28-15,1-1-24 0,2 0 0 0,2-1 4 0,1 0 8 0,0-1 8 16</inkml:trace>
  <inkml:trace contextRef="#ctx0" brushRef="#br0" timeOffset="69065.9503">11927 6823 3 0,'2'-3'32'0,"1"0"-4"0,-1-1 0 0,-1 2 0 0,1-1-4 0,0 1-4 0,-1-1 0 15,1 2 0-15,-1-1 0 0,0 0-8 0,-1 1 4 0,0 0 0 16,1 0-4-16,-1-1 0 0,0 2-4 0,0 0 8 0,0 0-4 0,0 2 0 0,0-1 0 16,0 1 4-16,-1 1 0 0,1 0 0 0,-1 1-4 0,0 0 4 0,0 1-4 15,0 0-4-15,0 0 4 0,-1 1 0 0,0 0 4 0,1 1-4 0,-1-1 4 0,-1 1-4 16,1 0 0-16,0 0-4 0,0 1 4 0,-1-1-4 0,2 1 0 0,-2 0 0 15,1 0 0-15,-1 0 0 0,1 0 0 0,0 0-4 0,-1 0 0 0,1 0 0 16,-2-1 0-16,2 0-4 0,-1-1 8 0,1 1-4 0,0-1-4 0,0-1 4 16,0 1-8-16,0-3 8 0,0 2-4 0,0-1 0 0,2-1 4 0,-2-1 0 0,1 1-4 15,-1-1 0-15,2 0 0 0,-1-1 0 0,1 0 0 0,-1 1-4 0,1-2-4 16,-1 0-4-16,2 0-8 0,-1 0-4 0,1-3-12 0,0 0-12 0,-1 2-20 0,2-3-20 15,0 0 8-15,-1-1 8 0,1 0 8 0,0-1 4 0,0-1 8 0</inkml:trace>
  <inkml:trace contextRef="#ctx0" brushRef="#br0" timeOffset="110031.2934">13195 6683 35 0,'-1'-5'36'0,"-1"2"-4"0,0 0 0 0,1-1-4 0,0 1 0 16,-1 0-4-16,0-1-4 0,1 2 0 0,0-4 0 0,-1 3-4 0,0-1 0 0,0 1 0 15,1-1-4-15,-2 1 4 0,2-2-8 0,-2 2 0 0,1 0 4 0,-1-1-4 16,0 3 0-16,2-2-4 0,0 1 4 0,1 1 0 0,0 1 0 0,2 0 0 0,-1 0-4 16,3 1 4-16,-2 0 0 0,2 0-8 0,0 1 8 0,0 0 0 15,0 0-8-15,1 0 0 0,1 0 0 0,-1 2 4 0,1-2 0 0,0 1 4 0,0 0-4 16,3 1-4-16,-3-1 4 0,2 1 0 0,0-1 4 0,0 3-4 0,0-2 0 15,1 1 0-15,-2 0 4 0,2 0-8 0,-1 0 0 0,0 0 0 0,-1 1 4 0,2 0 0 16,-3 0-4-16,1 0 4 0,-2 0 0 0,0 0 4 0,0 1-4 0,-1 1 0 16,-2-1 0-16,-1 1 0 0,0 0 0 0,-3 1 0 0,1 0 0 0,-4 0-8 15,-1 1 8-15,0 0-8 0,-1 1 8 0,-2-1 0 0,-1 1 0 0,-1 0 0 16,-1 1 0-16,-1-1 0 0,0 1 0 0,-2 0 4 0,0-1-8 0,0 2 8 0,0-1 0 15,-2-1-8-15,2 2 4 0,-2-2 4 0,2 1-8 0,-2-2 8 0,2 2-4 16,0-2 0-16,1 0 0 0,-1-1 0 0,2 0 0 0,0-1-4 0,2 1-4 0,1-3-4 16,0 0 4-16,2 0 4 0,2-1 4 0,2-1-4 0,1-1-4 0,2 0 0 15,1-1 8-15,2 0-4 0,1-1 8 0,3-1 0 0,2-1 0 0,2-1 4 16,0 1 4-16,2-1-4 0,3-1 4 0,0-1-4 0,3 0-4 0,1 1-4 0,0-3 4 15,2 2 4-15,-1 0-4 0,3 0 0 0,0-2 4 0,0 1-4 0,0 0 4 16,2 0 4-16,-1 0-12 0,0 0 8 0,1-2 0 0,-1 3 0 0,1-1-8 0,-2 0 0 16,1 2 4-16,-3-2-4 0,1 1-4 0,-1 1 4 0,-2 0 0 15,0 0 4-15,-1-1-4 0,-2 2 4 0,-2 0-8 0,0 1 8 0,-3-1 0 0,1 1-4 16,-3 0 4-16,-1 1-4 0,0-2-4 0,-1 2 0 0,-2 0 4 0,0-1 0 15,-2 1-4-15,0 0 8 0,1 1-8 0,-3-1-4 0,1 0 8 0,-1 2-4 0,-1-2-4 16,0 2 0-16,-1 0-4 0,0-1-4 0,-1 1 8 0,-1-1-12 0,1 2-8 16,-1-1-8-16,0-1-12 0,0 1-16 0,-2 1-12 0,1-1-36 0,-1 2-4 15,-1-1 8-15,0 0 12 0,0 0 8 0,0 1 12 0,1-1 8 0</inkml:trace>
  <inkml:trace contextRef="#ctx0" brushRef="#br0" timeOffset="110881.342">14747 6449 19 0,'-1'-4'28'0,"0"0"4"0,1 2-8 16,-1-2-4-16,1 2-4 0,1-1 0 0,-1 1 0 0,1-1-4 0,0 3 0 15,0-2 0-15,0 1 0 0,1 0 0 0,0 0-4 0,0 1 0 0,1 0 0 16,-1 1 0-16,0 0 0 0,4 0 0 0,-3 1 0 0,2 1 0 0,-1 0 0 0,1 0 0 15,0 1 0-15,2-1 0 0,-1 1 0 0,0 1-4 0,-1-1 4 0,2 2-4 16,0-1 0-16,-1 0 4 0,1 0-4 0,-1 1 0 0,-1-1 0 0,2 2 0 0,-2-1 0 16,0 1 0-16,-1 0 4 0,0 0-4 0,-1 1-4 0,0-1 4 15,-2 1 0-15,0 2-4 0,0-1 4 0,-2 0-4 0,0 1 0 0,-1 0 4 0,-1 1 0 16,-1-2-4-16,-1 2 4 0,1 0 0 0,-2-1 0 0,-2 1 0 0,2 0-4 15,-1-1 0-15,-1 0 0 0,0 1 0 0,0-1 4 0,0 0-4 0,0 0 4 0,-1 0 0 16,1-1 0-16,1 0-4 0,0 0 0 0,-3-1 0 0,4 0 0 0,-1 1 0 16,1-4 0-16,-1 3 0 0,3-2-4 0,0 0 4 0,0-2 0 0,2 1 0 15,0 0 0-15,2-2 0 0,0 2 0 0,2-1 0 0,0-1 0 0,2 1 0 16,1 0 4-16,1 0-4 0,-1-1 0 0,2 2 0 0,0-1 4 0,3 1-4 0,-2-1 0 15,1 2 0-15,1-1 4 0,1 0 0 0,-1 0 0 0,1 2 0 0,0-1 0 16,0 0 0-16,1 1 0 0,-2-1 0 0,1 1 0 0,0 1 0 0,-2-1 4 0,1 0-8 16,0 1 8-16,-2 1 0 0,-2-1-16 0,1 0 16 0,-1 1 0 0,-1 0 0 15,-2-1-4-15,-1 1 4 0,0 1 0 0,-2-2 0 0,0 2-4 0,-2-1 0 16,0 0 4-16,-2 0-8 0,-1 0 0 0,0 1 4 0,-1-2-4 0,0 1 0 0,0 0 0 15,-3 0 0-15,2 0 0 0,0-1 0 0,-2 0 0 0,0 0 0 0,2 0 0 16,-1 0 0-16,0-2 0 0,0 0 0 0,1 1-4 0,-1-2-4 0,2 0 0 16,-2 0-16-16,2-2-8 0,1 1-32 0,0-2-24 0,0-1 4 0,1 0 8 0,-1-1 4 15,2 0 12-15,1-1 4 0</inkml:trace>
  <inkml:trace contextRef="#ctx0" brushRef="#br0" timeOffset="111540.3797">16527 6759 3 0,'2'-6'44'16,"1"0"0"-16,-2 0-8 0,1 1 4 0,0 1-4 0,0-1-4 0,0 0-4 0,-1 1 0 16,0 0-4-16,1 1 0 0,-1-1-4 0,-1 1 0 0,0 1 0 0,-1 0-4 15,0 1 0-15,-1 1 0 0,0 0-8 0,-1 1 4 0,-1 1 0 0,0 0-4 0,0 3 0 16,-1-1 0-16,0 1-4 0,0 2 4 0,0 0-8 0,0 1 4 15,1 1 0-15,-1 1-4 0,-1-1 0 0,2 2 4 0,-1-1 0 0,1 2 0 0,0-2-4 16,0 1 4-16,1 1-4 0,0 0 4 0,-2-1-4 0,3 0 8 0,-1 2-4 16,2-3 4-16,0 2-4 0,1-1-4 0,1 0 4 0,0-1 0 0,2-1 4 0,0 0 0 15,2-2-4-15,0 1 0 0,0-1 0 0,2-1-4 0,0-1 4 16,2 0 0-16,-1 0 0 0,2-2 0 0,1 0 4 0,0-1 0 0,-1 0-4 0,3 0-4 15,-2-1 8-15,2 0-4 0,-1-1 0 0,0 0 0 0,2 0 0 0,-1 0 0 16,0-1 0-16,-1 0 0 0,1 0-12 0,0 0 8 0,-2-1 0 0,2 1-4 16,-3-1 8-16,1 0-4 0,0 1 0 0,-1-1-8 0,-1 1 8 0,-1-1-4 0,1 0 0 15,-1 1 0-15,-2 0 0 0,0-2 4 0,1 3-12 0,-3-1-4 0,1 0-12 16,-2 0-4-16,-1-1-4 0,2 0-4 0,-4 1-12 0,1-1-20 0,-1 0-8 0,-1 0 4 15,1 0 4-15,-2-1 12 0,0 0 8 0</inkml:trace>
  <inkml:trace contextRef="#ctx0" brushRef="#br0" timeOffset="111768.3927">16708 6727 27 0,'2'6'48'0,"-1"0"-4"0,-1 3 0 0,1 0-4 0,-1 2-4 0,0 0 0 0,0 1 4 15,0 1-8-15,-1 1 4 0,1 2 0 0,-1-1-8 0,-1 1 0 0,1 2 0 16,0 0-4-16,-2-1 0 0,2 3-4 0,-1-1-8 0,0 1-4 0,0-1 4 15,0 1 4-15,0 0-8 0,-2 0 0 0,2-2 0 0,-1 1 0 0,1-1 0 16,-1 0-8-16,1-1 12 0,-2 0-4 0,2-2 0 0,1 0-4 0,0-1 4 0,-1 0-8 16,1-1-8-16,0-2 8 0,0 0 4 0,1-1-4 0,0 0 4 0,0-1-4 15,0-1 0-15,0 0-8 0,0-2 4 0,0 0-4 0,1-1-12 0,0-1-16 0,0-1-8 16,0 0-32-16,0-2-24 0,-1 0 8 0,0-1 12 0,0-1 8 15,1 0 4-15,-1-2 8 0</inkml:trace>
  <inkml:trace contextRef="#ctx0" brushRef="#br0" timeOffset="112503.4348">18138 6709 11 0,'-5'-6'36'0,"1"0"0"16,0 1-4-16,-2 1-4 0,2 0 0 0,0 0-4 0,1 1-4 0,-1 1 0 0,1 0 0 15,-1 2-4-15,-1 0 0 0,1 2 0 0,1 0 0 0,0 1 0 0,-1 2-4 16,1-1 0-16,1 2 0 0,-2 1-4 0,3-2 0 0,-1 3 0 0,0-1-4 15,2 3 4-15,1-1 0 0,0 1 0 0,1 0 0 0,1 1 0 0,1 2 0 16,0-1-4-16,1 0 4 0,1 1-4 0,1 0 0 0,-2 1 0 0,3 1-4 0,-1-1 4 16,1-1 0-16,1 2 4 0,0 0-4 0,1-1 4 0,-1-1 0 0,0 0 0 15,0 0-4-15,2-1 4 0,-2 1-4 0,1-1 8 0,1-1-12 0,-2 0 8 0,0-1 4 16,1 0-8-16,-1 0 8 0,-1-1-4 0,1-1-8 0,-1 1 4 0,-2-3 0 15,1 2 12-15,-1-1-4 0,0-1 4 0,-2-1-4 0,1 1 4 0,-3-1-12 16,0-1 8-16,-1 1 0 0,0-1-4 0,-2 0 0 0,0 0-4 0,-1-1 4 16,-1 0 0-16,-1-1 0 0,-1 2 0 0,-1-2-4 0,-1 1 0 0,1-2 0 0,-1 2 0 15,-2-3 0-15,1 1-4 0,0 0 0 0,-1 1 0 0,-2-2 4 0,2 0-4 0,-2 0 0 16,0-1 0-16,1 0 0 0,-1 0 8 0,-1 0-8 0,2-2 0 15,-3 0 0-15,2-1-4 0,2-1 4 0,-3-1-8 0,2 0 4 0,0-2 12 0,0 0-12 16,2 1 4-16,0-4-12 0,1 0 12 0,-1-1-12 0,2-1 4 0,1-1 0 16,2 0 8-16,0-1-12 0,1-1 12 0,1 0-12 0,1-1 12 0,2-1-12 0,0 1 16 15,2-1-4-15,0-1 0 0,2 0-4 0,2 1 4 0,-1-1 0 0,2 0 0 16,3 1 0-16,-1-1 0 0,1 1-4 0,2 0-4 0,-1 2 0 0,2 0-8 15,1 0 12-15,-1 2 0 0,1 1 12 0,1 0 0 0,0 1 0 0,1 3-8 16,-2-1-4-16,2 2 8 0,1 0 0 0,-2 1 0 0,1 2 4 0,-2 1-4 0,3 1 4 16,-3 0 0-16,1 1 4 0,-1 0-4 0,1 2-8 0,-3 0 4 0,2 0 8 15,-1 2-4-15,0-1-4 0,-1 1-4 0,0 0 8 0,-2 1-8 0,1 1 8 0,0-1-8 16,-2-1 0-16,1 2 8 0,-2-1-8 0,0 0 0 0,0 0 0 0,0 1 0 15,-2-1-4-15,1 0-4 0,-1 0 4 0,-1 0 0 0,-1 1-16 0,1-2-16 16,-2 1-16-16,-1 0-36 0,-1 0-20 0,0 0 8 0,-1-1 12 0,-1 1 8 16,-1-1 8-16,1 1 8 0</inkml:trace>
  <inkml:trace contextRef="#ctx0" brushRef="#br0" timeOffset="113077.4676">19523 6420 31 0,'4'-2'32'0,"-1"4"4"16,0 1 0-16,-2 2-4 0,0 2-4 0,-2 1 4 0,0 3-4 0,0 1 0 15,-2 3-4-15,0 0 0 0,0 3 0 0,-2 1-4 0,1 2-4 0,-2 1 0 16,-1 1 0-16,2 1 0 0,-2 1 0 0,1 1 0 0,-1 0-4 0,-1 2 0 0,2 0 4 16,-1-1-8-16,1 1 4 0,-2 0-4 0,2 1 0 0,1-2-4 0,0 0 0 15,0-1 0-15,2 0 0 0,-2-2 4 0,2-1-4 0,1-1-4 0,2-1 4 0,0-1 4 16,0-2-4-16,2-3 8 0,1 0-4 0,2-1-4 0,0-3 0 0,0-2 4 15,2 0 0-15,1-2 0 0,1-3 0 0,1 0-4 0,0-1 8 0,2-1-4 16,-2-2 4-16,2-2 0 0,0 0 0 0,0 0 0 0,0-1 4 0,0 0-8 0,-1-2 4 16,1-1-4-16,-1 1 4 0,0-1-4 0,0 1 8 0,-2-2 0 15,0-1-8-15,1 2 0 0,-2-2-4 0,-1 1-4 0,-1-1 12 0,-1 0-4 0,-1 1 0 16,-1-1 0-16,-3 2 0 0,0-2-4 0,-1 1-4 0,-3 1 8 0,0 0 0 15,-3 0-8-15,-1-1 0 0,0 2 0 0,-2 1 0 0,0-1 8 0,0 1-8 0,-3-1 0 16,2 1 0-16,-1 1-4 0,-2-1 0 0,1 1 4 0,0 0 0 0,0 1-4 16,-1-1-12-16,1 1-8 0,1 0-8 0,0-1-16 0,0 2-12 0,0 0-8 0,2 0-36 15,0-1-4-15,1 2 12 0,1 0 8 0,0 0 12 0,3 0 4 0,0 0 8 16</inkml:trace>
  <inkml:trace contextRef="#ctx0" brushRef="#br0" timeOffset="113966.5185">20953 6506 31 0,'-5'0'32'0,"0"-3"-8"0,0 3 0 0,1 0-4 0,-1-1-4 0,1 1 0 16,-1 0 0-16,1 0-4 0,2 0 0 0,-2 1-4 0,3-1 4 0,-1 3 0 15,2-3-4-15,0 1 4 0,1 1-4 0,1 0 0 0,0 0 0 0,2 0 4 0,1 1-4 16,3 0 0-16,-1 1-4 0,2 0 8 0,2 0-4 0,0 1 0 15,1-1 0-15,2 1 0 0,0-2 4 0,2 3-4 0,0-2 4 0,2 1 0 0,-1-2 0 16,2 1-4-16,2 1 0 0,-1-2 0 0,1 1 0 0,1 1 0 0,-2-3 0 16,2 3 0-16,1-2 0 0,-1 0 0 0,-1-1 0 0,1 2-4 0,-2-2 4 0,1 1-4 15,-1-1 8-15,0 1-4 0,-3-1 0 0,1 1 0 0,-2 0 0 0,0 0 4 16,-3 2-4-16,1-1-4 0,-1 1 0 0,-3 1 8 0,1 1 4 0,-3 0-8 15,0 2 8-15,-3 0-12 0,1 0 0 0,-2 3 4 0,-2 0-4 0,0 1 4 16,-1-1 0-16,-2 2-4 0,0 1 4 0,-1 0 4 0,-1-1-4 0,1 2 4 0,-4 0-12 16,3 1 4-16,-1 0 8 0,-1 1-8 0,1-1 4 0,-1 0-12 0,0 1 0 15,0-1 8-15,0 0 0 0,0 0 0 0,1 1-4 0,0-2 0 0,-1 0 0 0,2-1 4 16,-2 0-4-16,2-1 8 0,0-1-12 0,1 0 0 0,-1-1 8 15,2-1 0-15,0 1-8 0,-1-2 8 0,1 0-8 0,0-1 4 0,1-1 4 0,0 1 4 16,0-2-4-16,0 0-4 0,0 0 0 0,1-1 0 0,0-1 0 0,-1 0 0 16,1 0 0-16,-1-1 0 0,1 0 0 0,-1 0 4 0,1-2 0 0,-1 2-8 15,0-3 8-15,0 1-4 0,1-1-4 0,-1 0 4 0,1 0 0 0,-1-1-4 0,1 0 0 16,-1-1-8-16,0 0 4 0,0-1-20 0,1-1-4 0,-1 0-12 0,0 1-4 15,0-2-20-15,0-1-24 0,0 1-8 0,-1-1 16 0,1 0 12 0,-1 0 8 0,0 0 4 16</inkml:trace>
  <inkml:trace contextRef="#ctx0" brushRef="#br0" timeOffset="118471.7762">12105 7606 31 0,'-1'-3'36'0,"1"-1"-4"16,-1 1-4-16,1 0 0 0,-1 0-4 0,-1-1 0 0,1 3-4 0,0-2 0 16,1 1 0-16,0 0-4 0,-1 1 0 0,0-1 4 0,1 2-4 0,0-1 0 0,0 1 0 15,-1 0-4-15,1 0 0 0,0-2 0 0,0 2 0 0,0 0 0 16,0 0 0-16,0 2 0 0,0-2 0 0,0 0-4 0,1 1 0 0,-1-1 0 0,1 1 0 15,-1 0 8-15,0 0-8 0,1 1 4 0,-1 0 0 0,0 0-4 0,1 0 4 16,-1 0 4-16,1 1 0 0,-1 1 0 0,1-1 0 0,-1 2-8 0,0-1 0 0,0 0 0 16,0 1 0-16,1-1 0 0,-1 2 8 0,0 0-12 0,0 0 4 0,1 0 0 15,-1 1 8-15,0 0-4 0,0 1-8 0,0 0 4 0,0 0 4 0,0 0 4 16,0 1-4-16,0 0 0 0,0 1-4 0,-1-1 0 0,1 0 0 0,0 2 0 15,-1-1-8-15,1 0 12 0,0 0 0 0,-1 1-12 0,1-1 8 0,0 0-4 0,-1 2 0 16,1-2 4-16,0 0 4 0,0 1-8 0,0-1 4 0,0 1-4 0,0-1 0 16,1 0 4-16,-1 0-4 0,0 1 4 0,0 0 0 0,0-2-4 0,0 1 4 0,1 0-4 15,-2-1 0-15,2 0 0 0,-1-1 4 0,0 1-4 0,1-2 0 0,-1 1 0 16,0-2 0-16,0 2 0 0,0-1 0 0,0-3-4 0,0 1 8 0,0 0-4 15,0 0 0-15,0-1-4 0,1 0 0 0,-1-1 0 0,0 0 4 0,0-1 0 0,0 2 0 16,0-3-4-16,0 0 0 0,0 2 0 0,0-2 0 0,-1-1 0 0,1 1-4 16,1-2 4-16,-1 1-4 0,0 0-4 0,0-2 0 0,2 0-8 0,-1 1-8 15,0-2-8-15,1 0-16 0,0 1-12 0,0-1-8 0,1-1-20 0,-1-1-24 16,1 0 4-16,-1 0 12 0,2 0 8 0,-2 0 8 0,1-2 8 0,0 1 8 0</inkml:trace>
  <inkml:trace contextRef="#ctx0" brushRef="#br0" timeOffset="120597.8978">6786 8889 27 0,'-18'4'24'0,"-1"0"0"0,3-1-4 0,-1 1 0 0,1-2 0 15,1 0-4-15,2 0 0 0,0 0-4 0,2 0 0 0,1-2-4 0,0 0 0 16,2 0 0-16,-1 0 0 0,4 0-8 0,-2-1 8 0,2-1-4 0,2 1 0 16,-1 1 0-16,3-2-4 0,0 1 4 0,2 0 0 0,0-1-4 0,1 1 4 0,2-1 0 15,0 1 4-15,4-1-4 0,-1 0 0 0,2 0 0 0,1 0 0 0,3 0 4 16,0 0-4-16,4-1 0 0,-1 1 0 0,3 0 0 0,0-2 0 0,1 2 0 0,2-1 0 15,2 0-4-15,-2 0 4 0,3 0 0 0,1 0-4 0,0-1 0 16,1 1 0-16,1-1 4 0,0 0 0 0,1 1-4 0,-2-2 4 0,2 1 0 0,-1 0 0 16,0 0 0-16,0 0 0 0,0 1 4 0,-2-1-4 0,-1 0-4 0,-1 1 8 15,-1 0 0-15,-1-1 0 0,-1 1 0 0,-3 0-4 0,-1 1 0 0,-2-1 0 0,0 1 4 16,-2-2-4-16,-3 2 4 0,2 0 0 0,-3-1 0 0,-2 1 0 0,2 0 0 15,-4 0 0-15,0 1 0 0,0 0-4 0,-1 0 0 0,-2-1 0 0,0 2-4 16,-1 0 0-16,-1-1 0 0,0 1 0 0,-1 0-4 0,0 0-8 0,-2 0-12 0,1 0-16 16,-1 1-36-16,-1-1-4 0,1 2 4 0,-1-2 8 0,-1 2 8 0</inkml:trace>
  <inkml:trace contextRef="#ctx0" brushRef="#br0" timeOffset="121588.9545">13365 7621 11 0,'-7'-4'36'16,"0"1"-4"-16,-1-1-4 0,3 1 0 0,-1-1-4 0,1 1-4 0,1 0 0 16,1 0-4-16,0-1 0 0,0 2-4 0,2 0 0 0,0 0 0 0,1 0-4 15,1 2 0-15,1-2 0 0,0 2 0 0,2-1 0 0,-1 1 0 0,1 1 0 0,1 0 0 16,1 1-4-16,1 0-4 0,1 1 4 0,1 0 0 0,-1 1 4 0,3 1-4 15,-2 1 0-15,1-2-4 0,1 3 0 0,0-2 4 0,-1 2 0 0,2-1 0 16,-2 0 0-16,0 2 0 0,1 0-4 0,-1 0 4 0,-1 1 0 0,0-2 0 0,-1 2 0 16,-1 2-4-16,0-2 8 0,-1 1-4 0,-2 1 0 0,0 0 0 0,-1-1 0 15,-1 0-4-15,-2 2 4 0,0-2 0 0,-1 1 0 0,-2 0-4 0,1-1-8 0,-2 1 12 16,-1-2 4-16,-1 2 0 0,1-1-8 0,-1 0 8 0,-1 0-4 0,-1-1 4 15,1 0 0-15,0-1 4 0,-1 0-4 0,0 1 4 0,1-2-4 0,0 0-4 16,0 1 0-16,0-3 0 0,0 1 4 0,2-1-4 0,0 0-4 0,0-1 8 16,1 0 0-16,1-1-8 0,2 0 0 0,0-1 4 0,1 1 0 0,1-1-4 0,2-1 12 15,0 0-8-15,2 1 8 0,1-1-8 0,0-1 4 0,3 1 4 0,-1-1 0 16,1 0-8-16,1 0 0 0,1 0 4 0,1 0-4 0,1 2 4 0,-1-2 12 0,3 0-8 15,-2 0 0-15,1 0 12 0,1 0-16 0,0 0 8 0,2 0 0 16,-2-2 0-16,1 2-8 0,-1 0 8 0,2 0-4 0,0-1 0 0,-3 1 4 0,0 0-8 16,1 0-4-16,-2 0 0 0,1-1 4 0,-1 1-8 0,-1-2 4 0,-1 2-4 15,-1 0 4-15,0 0 8 0,0 0-12 0,-2-1 0 0,-1 1 8 0,1 0-12 0,-2 0 8 16,0 0-4-16,-1 0 0 0,-1-1-4 0,1 1-4 0,-2 0-4 0,0-1-20 15,-2 1-20-15,1 0-24 0,-1-1-28 0,-1 1-8 0,-1-1 12 0,0 0 8 16,0 0 8-16,0-1 8 0,-1 2 12 0,0-3 8 0</inkml:trace>
  <inkml:trace contextRef="#ctx0" brushRef="#br0" timeOffset="122273.9937">14642 7615 15 0,'3'-5'36'0,"0"2"-8"0,0-1 0 0,1 1-4 16,-1 0 0-16,1 1-4 0,0 1 0 0,0 0 0 0,2 0 0 0,-2 1-4 0,1 1 0 15,0 0 0-15,1 0 0 0,-1 1-4 0,1 0 4 0,-1 1 0 0,0-1 0 16,1 1-4-16,0 1 4 0,1 0-4 0,0 1 4 0,-1 0-4 0,2-1 0 0,0 2 0 15,-1-1-4-15,1 1 0 0,0-1 0 0,0 0 0 0,0 0 4 16,-1 0-4-16,0 0 4 0,2 1 0 0,-3-1-8 0,0-1 8 0,1 1 0 0,-2 0 0 16,2-1-8-16,-2-1 4 0,-1 1 4 0,0 0-8 0,0 0 4 0,-2-1 8 15,0 1-16-15,0-1 8 0,-1 1 0 0,-1-1 4 0,-1 0-4 0,0 1-8 0,-1-1 8 16,-1 1-4-16,0-1-8 0,0 0 12 0,-2 1-4 0,0-1 0 0,-2 0 0 15,2 0 0-15,-2 1-8 0,0-2 8 0,1 1 0 0,-2 0 0 0,2-1-4 16,-1 2 4-16,1-1-8 0,-2-1 0 0,2 2 0 0,0-3 8 0,-1 2 0 16,2 0-4-16,-1-1 4 0,2 0-4 0,-1-1 0 0,2 2-8 0,1-2 12 0,0 1-4 15,0 1 4-15,2-2-4 0,0 1-4 0,2 1 4 0,1-2 4 0,0 1-4 16,1 1 4-16,1-1-4 0,2 1 4 0,-1-1-4 0,1 1-4 0,2 0 8 0,1 1 4 15,-1-1-8-15,1 0 8 0,2 1-8 0,-1 0 4 0,0-1-8 0,2 2 8 16,-1-1-4-16,1 2 4 0,-1-3 0 0,1 2 4 0,0-1 0 0,-2 2 0 16,3-1 0-16,-4 0 4 0,2 0 0 0,-1-1-4 0,-1 2 4 0,-1-2 4 0,-1 2 0 15,-1 0 4-15,-1 0-8 0,-1 0 8 0,-2 0-4 0,-1 1-4 0,-1 0 0 16,-1 0 0-16,-2 1 0 0,0 0-4 0,-3 0 0 0,1 0 0 0,-2-1 0 0,-2 2 0 15,-1-1-4-15,0 0 0 0,-1 0 0 0,-2 1 0 0,0-1 0 16,-2 1 0-16,0-1-4 0,-1 0 0 0,-1 1 4 0,0-1-4 0,0-1 0 0,-1 1 0 16,-1-2 0-16,1 0-4 0,0 0 4 0,-1-2 0 0,1 0 0 0,0-1 0 15,-1-1-8-15,3 0-4 0,-1-2-4 0,2 0-12 0,-1 0-4 0,2 0-16 0,0-2-8 16,1 0-8-16,0 0-16 0,1-1-32 0,1 0 0 0,1-1 12 0,0 0 12 15,1-1 12-15,2 1 8 0,0-1 8 0,1-2 4 0</inkml:trace>
  <inkml:trace contextRef="#ctx0" brushRef="#br0" timeOffset="125632.1857">16672 7717 15 0,'0'-3'28'0,"0"2"0"0,-1-2-4 0,0 2 0 0,-1 1-4 0,2 0 0 0,-3 0 0 15,1 1-4-15,1 2 0 0,-2-1 0 0,0 2 0 0,1-1-4 0,-2 3 0 16,0-1 0-16,-1 1-4 0,1 0 0 0,-1 1 4 0,0 0-4 0,0 1 0 15,0 1 0-15,-2-1 0 0,0 1-8 0,1 1 4 0,-1 0 4 0,1 1 0 0,-2 0-4 16,1-1 0-16,-1 2 0 0,0 0 4 0,-1 1-4 0,2 0 0 0,-2 0 0 16,3 0-4-16,-3-1 4 0,3 1 0 0,0-1-4 0,0 1 0 0,2-2 4 0,-2 1 0 15,2-2 0-15,1 1-4 0,1-1 8 0,0-1-4 0,1 1 0 0,1-1 0 16,1-1 0-16,1 0 0 0,0 0 0 0,1-2 4 0,1 1-4 0,2 0 4 15,-1-1-4-15,1-1 4 0,1 0-4 0,1 0 4 0,2-1-4 0,-1-1 0 16,1-1 4-16,2 1-4 0,0-2 4 0,0 0 4 0,1 0-4 0,-1 0-4 0,3 0 4 16,-2-1-8-16,2 0 4 0,-2 0-4 0,2-1 8 0,-1 0-4 0,2 0 0 15,-2 1 0-15,1-1 4 0,-1 0-4 0,-1 0 0 0,2-1-4 0,-2 1 0 0,0 0 4 16,0 0 0-16,-1-1 0 0,0 2-8 0,-2-1 4 0,1 0 0 15,-1 0 0-15,-1 0 4 0,1 0 0 0,-2 1-4 0,-1-2 4 0,1 2 0 0,-1-1 0 16,-1 0-4-16,-1 1-4 0,0 0 4 0,0 0-4 0,-2-1 4 0,0 1-4 16,2 0 4-16,-3 0 4 0,0 0-4 0,-1 0 0 0,0 0-4 0,0 0 4 0,0-1-4 15,0 0-8-15,-1 1 4 0,-1-1 4 0,1 0-4 0,0 0 0 0,-1-2-12 16,0 2 4-16,0 0-8 0,1-1-4 0,-2-1 0 0,0 1-16 0,0-1-12 15,0 0-20-15,-1 0 0 0,-1 0 8 0,2-1 8 0,-1 0 8 0</inkml:trace>
  <inkml:trace contextRef="#ctx0" brushRef="#br0" timeOffset="125946.2037">16863 7825 27 0,'1'3'32'0,"0"1"0"0,-1 0-4 0,1 2-4 0,-1 0 0 15,1 0-4-15,-1 4 4 0,0 0-4 0,0-1-4 0,-1 2 0 0,0 1 4 16,1 1-4-16,-1 0 0 0,-1 1-4 0,1 1 4 0,-3 1-4 0,2 1 0 0,0 0 0 16,0 1-4-16,-1 1 4 0,0 0-4 0,0 0 0 0,0 1 0 0,0-1 0 15,-1 2 0-15,1-1 0 0,-2 0 0 0,2 0 0 0,0-1 0 0,0 0 0 0,0 0-4 16,0-1 0-16,1 0 0 0,-1 0 4 0,1 0 0 0,0-1 0 15,0 0 4-15,-1 1 4 0,1-3 0 0,0 2 0 0,1-3-4 0,1 0-4 0,-2-1 0 16,1-1-4-16,1-1 4 0,-1 1-4 0,0-3 4 0,1 1 0 0,0-2 4 0,0 0-4 16,0 0-4-16,-1-1 0 0,1-1 0 0,-1-1 8 0,1 0-8 0,-1-1-8 15,0 0 8-15,1-1-4 0,0 1-4 0,-2-2 12 0,1 0-8 0,0-1-8 0,0-2 4 16,1 0-4-16,-1-2-12 0,0 1-12 0,0-2-8 0,0 0-12 15,1-1-24-15,-1 0-16 0,-1-1 8 0,1 1 8 0,0-1 8 0,-2-1 4 0,1 0 8 16</inkml:trace>
  <inkml:trace contextRef="#ctx0" brushRef="#br0" timeOffset="127442.2893">4698 9083 27 0,'2'0'36'0,"-1"-2"-8"0,-1 2 0 0,2-2-4 0,-1 1-4 0,0-1 0 16,-1 1 0-16,1 0 0 0,1-1-4 0,-2 1-4 0,1-1 0 0,-1 1 0 0,1 0 0 15,-1 1 4-15,0-1-4 0,0 0 0 0,-1 0 0 0,1 0-4 0,-1 0 0 16,1 0 0-16,0 1 0 0,0 0 0 0,0 0 0 0,1 0 4 0,-1 0-4 15,1 1 0-15,-1 0 0 0,0 0 0 0,1 0 0 0,-1 0 0 0,1 0-4 16,0 1 4-16,0 0 0 0,0-1-4 0,0 1 4 0,1 0 0 0,-1 1-4 0,0-1 0 16,1 1 0-16,-1 1 0 0,2-2 0 0,-1 1 0 0,-1 1 0 0,1 0 0 15,0 0-4-15,0-1 0 0,1 2 4 0,-1 0-12 0,0 1 8 0,1-1 4 0,-1 1-4 16,1-1 0-16,-1 0 0 0,2 1 0 0,-1 0-4 0,0 1 4 15,0-1-8-15,-1 0 4 0,2 1-4 0,-1 0-4 0,-1 0-8 0,2 1-12 0,-2-2-16 16,0 2-28-16,2-1-4 0,-2 0 8 0,0 0 4 0,0 1 8 0</inkml:trace>
  <inkml:trace contextRef="#ctx0" brushRef="#br0" timeOffset="127640.3006">4839 9488 7 0,'1'1'0'16,"0"0"4"-16,-1-1 4 0,1 3-12 0,1-2 16 0,-1 0-4 0,0 2-8 0,1-1 12 16,0 1 0-16,-1-1-4 0,1 0 0 0,0 1 0 0,-1 0-4 0,1 0 0 15,0 0 0-15,-1 0 0 0,2 1 0 0,-1 0-12 0,0 0 16 0,0 0-8 0,1 0-8 16,-1 0 4-16,2 0-8 0,-2 1-28 0</inkml:trace>
  <inkml:trace contextRef="#ctx0" brushRef="#br0" timeOffset="128607.3559">4766 10010 11 0,'0'3'12'0,"2"2"4"0,1 0-4 16,-2 0 0-16,2 0-4 0,0 1 0 0,1 1 4 0,0-2 4 0,0 2-4 16,1 0-4-16,0 1 4 0,1-1-4 0,0 0 4 0,1 2-4 0,0-1 0 0,-1 0-4 15,3 1 0-15,0-2 4 0,-1 1 0 0,1 0 0 0,2 0-4 0,-1 0 4 16,0-2-4-16,2 1 4 0,-1 0 0 0,0-1 0 0,2 0-8 0,0-1 8 15,1 0-4-15,-1-1 0 0,0 0 4 0,2-2-4 0,0 2 0 0,0-3-4 0,0 1 4 16,1-2 0-16,-1 0 0 0,1-1 0 0,0-1 0 0,0-2 4 0,0 2-4 16,0-3 4-16,-1 0-4 0,2-1 0 0,-3-1 0 0,2 1-4 0,-1-2 4 15,0-1 4-15,-1 0 0 0,1 0-4 0,-1-3 0 0,0 2 4 0,-1-2-4 0,0 1 0 16,-1-1 4-16,0-2-4 0,0 1 0 0,-2 1 0 0,0-1 0 0,0-1 4 15,-2-1 0-15,0 2 0 0,0 0-4 0,-2 0 0 0,-1-1 0 0,0 1 0 16,-1 0 0-16,0-1 0 0,-2 1 4 0,0 0-8 0,0 0 4 0,-2 0 0 0,-2 1-4 16,0-1 4-16,0 1-4 0,-2-1 0 0,0 1 0 0,-2 1 0 0,0-1 4 15,-2 2 0-15,0-1 0 0,-1 0-4 0,0 1 4 0,-2 0-4 0,-1 1 4 0,0 2 0 16,-1-3-4-16,-1 2 4 0,0 0 0 0,-1 0 0 0,-2 1 4 15,1 0 0-15,-2 2 0 0,0-1 0 0,0 2 0 0,-1-1-4 0,1 1 4 0,-2 2 0 16,1-1 0-16,0 2 4 0,-1 1-8 0,1 0 4 0,0 1-8 0,0 1 8 16,1 1 0-16,0 1-8 0,-1 1 0 0,2-1-4 0,0 2 8 0,1 1-4 0,1 0 4 15,0 1-8-15,0 0 8 0,3 2-8 0,-1 0 4 0,1 0 0 0,1 1 0 16,0-1-4-16,2 2 0 0,1-1 0 0,1 1-4 0,0 0 0 0,1 0 4 15,2-1-8-15,0 1-4 0,1 0-16 0,0-1 0 0,2 1-16 0,-1-2-32 16,1 1-4-16,1-1 8 0,0-1 8 0,0 2 4 0,1-2 8 0</inkml:trace>
  <inkml:trace contextRef="#ctx0" brushRef="#br0" timeOffset="130274.4513">18092 8254 23 0,'-2'-1'36'0,"-1"-1"-4"0,0 0 0 0,1 0-4 0,0 0 0 16,0 0-4-16,-1-1-4 0,1 2 4 0,-1-2-4 0,1 2 0 0,0-1-4 15,0 0 0-15,0-1-4 0,0 1 0 0,0 1-4 0,0-2 4 0,1 1-4 0,0 1 0 16,1-1 0-16,0 1 0 0,1 1 0 0,1 0 4 0,-1 0-4 0,3 1 0 15,-1 0 0-15,0 1 4 0,2-1 0 0,-1 0 4 0,1 2 0 0,0-1-4 16,3 0 0-16,-2 1 0 0,1 0 12 0,0 0-4 0,3-1 0 0,-1 1 4 16,0 0 8-16,2 0-12 0,0-1 4 0,0 1 0 0,3 0 0 0,-2-1 4 0,2 0-4 15,0 1 0-15,1-2 0 0,0 1 0 0,1 0 0 0,0-1-4 0,0-1 0 16,0 0 0-16,1 0 0 0,0 0 0 0,-1 0 0 0,1 0-4 0,-1-1 0 0,0-1-4 15,0 1 0-15,0-1 0 0,0 1 0 0,-2-2 0 0,0 1 0 0,0 1 0 16,-1-2-4-16,-1 1 0 0,-1 0 0 0,0-1 0 0,-1 1 0 0,-1 0 0 16,0 1 4-16,0-1-4 0,-3 0 0 0,1 0 0 0,-1 1 0 0,-1 1 4 15,0-1-4-15,-1 0 0 0,-1 0 0 0,-1 1-4 0,0 0 4 0,0 0 0 0,-1 0-4 16,-1 0 0-16,1-1 0 0,0 1-4 0,-1 0 4 0,0 0 0 0,-1 1-4 15,0-1 0-15,0 0 0 0,1 0 0 0,-1 0-8 0,0 0 0 0,-1 0-12 0,1 0-8 16,-1 0-16-16,0 0-8 0,-1 0-8 0,1 2-12 0,-2-1-12 16,1-1-20-16,-1 1-24 0,-1 1 4 0,0-1 12 0,0 0 16 0,0 2 8 0,0-1 8 15,0 0 12-15,-2 1 8 0,0-1 4 0</inkml:trace>
  <inkml:trace contextRef="#ctx0" brushRef="#br0" timeOffset="132120.5569">19840 7815 15 0,'1'-2'44'0,"0"-1"0"0,-1 1-8 0,0 0-4 0,1 0-4 16,-1 1-4-16,1 0 0 0,-1 0-4 0,0-1 0 0,0 2-4 0,2-1 0 0,-2 0 0 15,0 0-4-15,0 1 4 0,0 0 0 0,0 0 0 0,-2 0 0 0,1 1-4 16,0 0 4-16,0 2 0 0,-1-1 4 0,1 1 0 0,0 0 0 0,0 3-4 15,0-1 4-15,-1 1-12 0,2 1 4 0,-2 0 0 0,0 2 0 0,2-1 0 0,-2 2 0 16,1 0 4-16,0-1-4 0,0 2-4 0,1 0-4 0,0 1 0 0,0 0 8 16,1 1-12-16,0-1 8 0,0 2 4 0,1 0-4 0,0 0 0 0,0 1 0 15,2 0 0-15,-1-1-4 0,3 1-4 0,-1 1 4 0,1-2-4 0,-1 1 0 0,2 0 8 16,1-1-4-16,0 0 4 0,0-1 4 0,1 2-8 0,1-1-4 0,-1-2 8 15,1 1-4-15,0-1-4 0,0-1-4 0,0 1 12 0,1-1 4 0,-2 0 0 0,1 0-4 16,0-2 0-16,-1 1 0 0,0-2-4 0,-1 2 0 0,1-3 4 16,-1 1 0-16,-1-1 4 0,0 0 4 0,-1 0-4 0,0-1 0 0,-1-1 4 0,0 1-4 15,-1-2 4-15,-1 1 0 0,0-1 0 0,0 0 0 0,-2 0 0 0,0-1 0 16,-1-1-4-16,-1 2 0 0,-1-1-4 0,-1-1 0 0,0 0 0 0,-1 1 0 0,-1-1-4 15,0-1 0-15,0 1 0 0,-3-1 4 0,1 1-4 0,-1-2 0 0,0 1 0 16,-2 0-4-16,1-2 4 0,-1 1-8 0,-1-1 4 0,0-1 4 0,0 1-8 16,-2-1 8-16,1-1-4 0,-1 0 0 0,0-1 0 0,0 0-4 0,-1-1 0 15,1-1 0-15,-1-1 0 0,1 0 0 0,-1-1 0 0,1-1-4 0,0-1-4 0,1 0-12 16,0-3 0-16,0 1 0 0,1-1-4 0,1 0 4 0,0-2-12 0,1 0 12 15,2 0 0-15,0-2-8 0,2 1 12 0,0 0 0 0,1-1-4 0,2 0 8 0,1 0 0 16,0 0 0-16,2 1 4 0,2-1-4 0,0 0 4 0,1 0 4 0,2 1 0 16,0 0 0-16,1-1 0 0,1 2 0 0,2 0 0 0,0 0 12 0,1 2-8 15,1-2 12-15,0 3-8 0,2 0-4 0,0 1 12 0,-1 2 0 0,3-2-12 0,-2 2 0 16,2 1 0-16,-1 0 8 0,0 1 0 0,0 1-8 0,2-1 4 0,-3 3 0 15,1 0 8-15,-1 0 4 0,2 0-4 0,-2 1 0 0,1 1-4 0,-2 0 4 16,2 0 4-16,-2 0-8 0,1 1 0 0,-2 1 4 0,1 0 0 0,1 0 0 16,-3 0 0-16,3 1-4 0,-3 0-4 0,1 0 8 0,0 1-4 0,-1-1 0 0,0 0-4 15,0 0 4-15,0 1 0 0,-1-1 0 0,0 0 4 0,-1 1-8 0,0-2 4 16,1 2-4-16,-2-1-4 0,1 0-4 0,0 0 8 0,-2 0-8 0,0 0-4 0,-1 1-12 15,0-1-16-15,0 0-12 0,-2 1-20 0,-1-1-32 0,1 2 0 0,-2-2 12 16,1 2 12-16,-3-1 8 0,1 0 8 0,-1 1 4 0</inkml:trace>
  <inkml:trace contextRef="#ctx0" brushRef="#br0" timeOffset="132732.5919">21372 7758 47 0,'2'-6'44'0,"-1"-1"-4"0,1 2-4 0,-1 0-4 0,1 0-4 15,0 0 0-15,-1 2-4 0,2 1 0 0,-2-1-4 0,0 1 0 0,-1 2-4 16,0 0 0-16,-1 2 0 0,-2 1 0 0,2 1-4 0,-3 0 0 0,2 1 4 0,-2 2-4 15,-1 0 0-15,0 2 4 0,-1 0 4 0,-1 2-4 0,1 1-8 0,-1 1 4 16,1 1 0-16,-1 1 4 0,-1 0-8 0,0 3-8 0,1-1 8 0,-1 2 4 16,-2 1-8-16,2 0-4 0,0 1 0 0,-2 1 8 0,1 0 0 0,1 0 4 15,0 1-16-15,0-1 4 0,0 0 4 0,1 0 0 0,0-1 4 0,1 1-4 0,1-2 4 16,0 0-8-16,1-1 4 0,1-1-4 0,1 0 4 0,1-2-4 0,1 0 4 15,1-2 4-15,0 0 4 0,2-2 4 0,1 0-8 0,1-2 4 0,1 0 0 0,1-4-4 16,0 1 0-16,2-2 0 0,0-1 0 0,2-1 0 0,-1-2 4 0,2-1-12 16,-1 0 4-16,2-1 0 0,-1-2 4 0,-1-1-4 0,2 1 4 0,0-2 0 15,-1 0-4-15,0-1 4 0,-1 0 0 0,1-1-4 0,0-1 0 0,-3 1 0 0,0-1 4 16,1 1-4-16,-2-2 8 0,-2 1-4 0,-1 0-4 0,-1-1-4 0,1 1 4 15,-4 0 0-15,-1-1 0 0,-1 2 4 0,-1 0-12 0,-2-1 4 0,-1 1 0 16,-1 2 4-16,-1-2-4 0,-1 1 0 0,-3 0 0 0,1 1 0 0,-2 1 0 16,1-2 0-16,-2 3 0 0,0-2 0 0,0 2 4 0,-1-1-4 0,1 2 0 0,-1-1 0 15,0 0-4-15,1 1-4 0,-1 0 12 0,1 1-8 0,0-1-4 0,1 2-8 16,0-2-8-16,1 2-8 0,1-1-12 0,1 0-12 0,0 1-8 0,1 0-16 15,2-1-28-15,1 1 4 0,0 0 16 0,0-1 8 0,2 0 8 0,1-1 8 0,1 1 8 16</inkml:trace>
  <inkml:trace contextRef="#ctx0" brushRef="#br0" timeOffset="134513.6937">10570 9616 3 0,'-3'-4'32'0,"-1"0"-4"0,1 1-4 0,1-1-4 16,1 1 4-16,1-1-4 0,0 3-4 0,1-2 0 0,0 1-4 0,3 1 4 0,-1 0-4 15,2 1 0-15,1 0 0 0,0 0-4 0,2 1 0 0,0 0-4 0,1 1 4 16,1 1 0-16,0-1-4 0,3 2 4 0,-1 1-4 0,0-1 4 0,3 1-4 0,-2 1 0 15,2 0 0-15,-1 0 4 0,1 0-4 0,0 1 4 0,0 0-4 0,-1 0 0 16,1 2 4-16,-2-2-4 0,0 1 4 0,-1 2-4 0,-2-2 0 0,1 2 0 16,-2-1-4-16,-1 1 4 0,-1 0 0 0,0 1 0 0,-3 0 0 0,-1 0 0 15,-1 0 0-15,-2 0-4 0,0 0 0 0,-1 0 0 0,-1 1 4 0,-1-2-4 0,-1 1 4 16,-2 0-4-16,0 0 0 0,0-1 4 0,-2-1 0 0,0 3-4 0,0-3 0 15,0 0 0-15,-1 0 0 0,0-1 0 0,0 0 4 0,0 0 0 0,-1-1 0 0,1-2 0 16,0 1 0-16,1-3 0 0,-1 1 0 0,0-3 0 0,2 1-4 0,0-4 0 16,0 1 0-16,1-2 0 0,0-1 4 0,2-2 0 0,1-1 0 0,0 1 0 15,1-3 0-15,1 0 0 0,1-1 0 0,0-2 0 0,1 0 0 0,2-2 0 0,0 1 0 16,1-2 0-16,1 0 0 0,0-2 0 0,1 1 0 0,2-2 4 0,-1 1 0 15,1-2 0-15,1-1 8 0,1 1-8 0,-1-1-4 0,1 1 16 0,0-2-8 16,-1 1 0-16,1-1 0 0,1 1 0 0,-1 2 4 0,-1-2-8 0,1 1 8 16,-2 1 0-16,0 0-4 0,-1 2 0 0,0-1-4 0,-2 1 12 0,-1 1-4 0,0 0-4 15,-2 1-4-15,-1-1 4 0,-1 3-4 0,-2 1 0 0,-1 0 0 0,-2 1 0 16,-1 2-8-16,-2 0 8 0,-1 1-4 0,-2 1 0 0,-1 2 0 0,-2 0 0 0,-2 2-8 15,1 1 8-15,-3 0 0 0,0 1 0 0,-2 1-4 0,0-1 0 0,-1 3 0 16,0-1 4-16,-1 1-4 0,1 0 0 0,0 3 4 0,-1-2-4 0,2 1-4 16,-1 1 0-16,0 0 4 0,2 1-4 0,0 0 4 0,1 0-8 0,3 1 4 15,-1 1-4-15,3-1 4 0,1 2-16 0,0-2-8 0,4 1-12 0,1 1-8 0,2 0-4 16,2-1-28-16,2 1-28 0,3-1 12 0,2 0 8 0,2 0 8 0,1-1 12 15,2 1 8-15</inkml:trace>
  <inkml:trace contextRef="#ctx0" brushRef="#br0" timeOffset="134994.7212">11972 9478 31 0,'-6'-6'36'0,"-2"1"-8"0,2-1 4 0,-2 1-4 16,2 0-4-16,-3 0-4 0,1 1 0 0,0 0 0 0,1 0 0 0,-2 1-4 15,0 1 0-15,0-1 0 0,1 2 0 0,-2 0 0 0,2 1-4 0,-1 1 0 16,0-1-4-16,1 3 0 0,-1 0 0 0,2 1 0 0,-1 0 0 0,1 1-4 16,0 0 0-16,2 1 0 0,0 0 0 0,0 1 0 0,1 0-4 0,2 1 4 0,0-1 0 15,1 1-4-15,0 0 0 0,1-1 0 0,1 1 0 0,0-1 0 0,2 0 0 16,0 0 4-16,0 0 0 0,3-2 0 0,-1 1 0 0,1-3 0 0,0 2 0 0,2-2 0 15,0 0 0-15,0-1 0 0,1 1-4 0,1-1 0 0,0-2 4 16,0 1-4-16,1-1 4 0,-1 0-4 0,0 0 4 0,1 0 0 0,0 0-4 0,-1 0 4 16,1 1 0-16,-1 0 0 0,-1 0 4 0,1 1 0 0,-1 0 0 0,-1 1 4 15,1-1-8-15,-1 3 8 0,-1 1-4 0,-2 0 4 0,1 1-4 0,-1 1 0 0,0 2-4 16,-1-1-4-16,-1 4 8 0,-1 0 0 0,0 1 4 0,-1 2 0 0,-1 2-12 15,0 0 8-15,-2 1 4 0,1 3 0 0,-1-3-8 0,0 2 4 0,-1 0 0 16,0 1 0-16,1 0 0 0,-3 0-12 0,2-2 0 0,0 2 12 0,0-1-4 0,-1 0 0 16,1-2-8-16,0 2 4 0,0-2 0 0,0-2 4 0,0 2-8 0,1-2-4 15,0-1 16-15,1-2-8 0,-1 1 0 0,0-3 4 0,2 1-4 0,0-3 0 0,-1-1-12 16,2-2-4-16,-1 0-8 0,0-3-12 0,2-1-4 0,-1-2-32 0,1-1-20 15,-1 0 0-15,1-2 8 0,-1-1 8 0,2 0 0 0,-1-2 16 0</inkml:trace>
  <inkml:trace contextRef="#ctx0" brushRef="#br0" timeOffset="135397.7443">13151 9483 11 0,'0'-9'44'0,"0"0"-8"16,0 2-4-16,1 0 0 0,-1 1-4 0,0 1-4 0,2 2-4 0,-1-1 0 0,0 2 0 15,-1 1-4-15,1 1-4 0,0 2 0 0,-1-1 0 0,0 3-4 16,0-1 0-16,0 3 0 0,0-1 0 0,-1 2 0 0,0 1 0 0,1 0-4 0,0 0 0 16,-1 0 0-16,1 3 0 0,0-1-4 0,0 1 4 0,0 1-4 0,0-1 0 15,0 1 4-15,0 0-4 0,0 1 0 0,0-1 0 0,1 0 0 0,-1 0 0 0,0 1 0 16,1-2 0-16,0 0 4 0,1 0-4 0,-1 0 0 0,2-2-4 0,-1 0 0 15,1-1 4-15,0 1 0 0,0-2-4 0,2-2-8 0,-1 1 0 0,1-1-12 16,0-1-12-16,0-2-24 0,2 1-8 0,-1-2 4 0,1 0 8 0</inkml:trace>
  <inkml:trace contextRef="#ctx0" brushRef="#br0" timeOffset="135679.7604">13443 9660 19 0,'10'-4'36'0,"1"0"-4"0,0 1 4 0,0-1-4 0,-1 2-4 0,2 1-4 16,-3-1 4-16,0 1-4 0,1 0 0 0,-1 0-4 0,-1 1 0 0,0 0-4 16,1 0 4-16,-1 1-4 0,-1 1 0 0,2-2 0 0,-1 2 0 0,-1-1 0 15,0 1 0-15,2 0 4 0,-1-1 0 0,-1 1-4 0,1-2 0 0,1 2 4 0,-2-1 0 16,1-1-4-16,0 0 0 0,1 2-4 0,-2-4 4 0,1 2 0 0,1 0 0 15,0-2 0-15,-1 1 0 0,0-2 0 0,0 1-12 0,2 0 4 0,-1-2 8 16,-1 0-12-16,1 0 8 0,-2-1-12 0,2 0 8 0,-1-1 0 0,0 1 0 0,-1-2 0 16,0 0 0-16,-1 0 0 0,1 0-4 0,-2-1 0 0,0 0 4 0,-1-1 4 15,0 1-8-15,-2-1 0 0,0 0 0 0,-2 0 0 0,0 0 4 0,0-1-4 0,-2 2-4 16,-1 0 0-16,-1-1 0 0,-1 1 0 0,-1 0 4 0,-2 2-4 0,0-1 0 15,0 0 0-15,-3 2 4 0,1 0 0 0,0 2-4 0,-3-1 0 0,2 1 0 16,-1 1 0-16,-2 1-4 0,1 0 4 0,0 1 0 0,0 1-4 0,0-1 8 16,-1 2 4-16,1 1-8 0,1-1 0 0,-1 2-4 0,1 0 4 0,1 1-8 0,2 0 0 15,-1 1-8-15,1 0-16 0,0 0-12 0,3 0-8 0,-2 1-12 0,3 0-36 16,0 0-4-16,1-1 8 0,1 1 8 0,1-1 12 0,1 1 8 0,0-2 8 0</inkml:trace>
  <inkml:trace contextRef="#ctx0" brushRef="#br0" timeOffset="136138.7867">15076 9240 19 0,'2'0'28'0,"1"-1"-8"0,0 2 0 15,-1-1 0-15,1 3-4 0,-1 0 4 0,1 2-4 0,-2 0-4 0,0 1 4 16,0 0-8-16,0 4 0 0,0-3 0 0,-1 3 0 0,1 0 0 0,0 2 0 0,1-1 0 15,-1 0 0-15,-1 1-4 0,0 2 0 0,1-1 0 0,-1-1 0 16,0 1-4-16,0 1 4 0,0-2-4 0,0 1 4 0,0 0-4 0,0-1 4 0,-1-1-4 16,1 0 0-16,0 0 0 0,0-1 4 0,1-2-4 0,-1 2 0 0,0-4 4 15,1 0-4-15,1 1-4 0,-1-3 4 0,1 1-12 0,1-3-12 0,-1 0-24 0,1-1-20 16,0-1 8-16,0-1 8 0</inkml:trace>
  <inkml:trace contextRef="#ctx0" brushRef="#br0" timeOffset="136366.7997">15456 9205 23 0,'7'1'36'0,"-1"1"0"16,1 0-4-16,-1 2 0 0,0 0 0 0,-1 2 0 0,-1 0-8 0,0 1 4 16,0 1 0-16,-1 0-4 0,1 2 0 0,-3-1-4 0,1 2 0 0,-1 0 0 0,1 1-4 15,0 0-4-15,-1 1 0 0,0-1 0 0,1 2 0 0,0 0-4 0,-1 1 0 16,1-1 0-16,-1 1 0 0,1-1 4 0,1 0-8 0,-2 1 0 0,0-2 0 15,1 1 0-15,-1-1-4 0,0 0 4 0,1-2-4 0,-1 2 0 0,0-1 4 16,1-2 4-16,-1 0-4 0,0 1-4 0,1-2 4 0,-1-2 0 0,1 2-4 0,-1-2 0 16,0-1-4-16,1-1-4 0,-2 2 0 0,2-4-12 0,-1 1-4 0,1-1-8 15,-2-1-16-15,2-2-32 0,-2 2-4 0,1-2 8 0,0-2 8 0,-1 2 8 0</inkml:trace>
  <inkml:trace contextRef="#ctx0" brushRef="#br0" timeOffset="136799.8243">16640 9265 3 0,'0'-8'36'0,"0"-1"-4"0,3 1-4 0,-1 1-4 15,-1 0 0-15,2 2 0 0,-1 2-8 0,1-1 0 0,-1 1 0 0,1 3 0 16,0 0 0-16,-1 0-4 0,2 3 0 0,-2 1 0 0,0-1-4 0,2 2-4 16,-2 2 4-16,-1 0 0 0,0 2-4 0,1 0 4 0,-1 1-4 0,1 1-4 0,0 2 4 15,-1 0 0-15,0-1 0 0,1 2-4 0,-1 0 4 0,0 1-4 0,0-1 4 16,0 0-4-16,0 1 4 0,-1-1-4 0,0 1 0 0,1-1 0 0,-1 0 0 0,0-2 0 15,0 2-4-15,0-2 0 0,0 0-8 0,0-2-8 0,-1 0-24 16,1-2-24-16,0 1 0 0,0-2 4 0,0-1 12 0</inkml:trace>
  <inkml:trace contextRef="#ctx0" brushRef="#br0" timeOffset="137100.8417">16895 9363 15 0,'12'-12'36'0,"2"3"-8"0,-2-1 4 0,0 0-4 16,2 2 0-16,-2 1-4 0,1 1 0 0,-1 0 0 0,0 1-4 0,0 2-4 0,-1-1 0 15,1 3 4-15,-3-1 0 0,0 2-8 0,1 1 4 0,-1 1 0 0,-2 0 0 16,0 2-4-16,-1 0-4 0,1 2 4 0,-2 0 0 0,1 0 0 0,-2 2-4 0,0 1 0 15,0-1 0-15,-2 1-4 0,2 0 4 0,-3 1 0 0,1 0-4 16,-2-1 4-16,0 2-4 0,-1 0 0 0,0-1-4 0,-3 0 4 0,2 1 4 0,-2-1-4 16,0 0 0-16,-1 0 0 0,1 0 0 0,-1-1 0 0,-1 0 4 0,0 0 0 15,1-1 0-15,-1-1 4 0,1 1-8 0,-1-1 0 0,0 0 0 0,0-1 0 0,1-1 0 16,0 1 0-16,2-1 4 0,-1-1-8 0,1-1 4 0,1 2 8 0,1-3-4 15,1 1-8-15,3-1 4 0,-2-1 8 0,3 0-4 0,0 1-4 0,1-1 0 16,1-1-8-16,2 0 8 0,2 0 4 0,-1-1-4 0,0 1-4 0,3-1 4 16,-1 0 0-16,1 0-4 0,2 1 4 0,-2 0 4 0,2-1-4 0,0 1 4 0,0-2-4 15,0 2-4-15,1 0 0 0,-2-1-8 0,2 1 4 0,-1 0 8 0,-1-2-8 16,1 2 4-16,-1 0-8 0,-1 0-12 0,0-1-8 0,-2 0-12 0,1 1-12 0,-2 0-16 15,-1 0-28-15,1 0 4 0,-3-2 12 0,0 2 8 0,0 0 8 0,-1 0 4 16</inkml:trace>
  <inkml:trace contextRef="#ctx0" brushRef="#br0" timeOffset="137509.8651">18340 9313 3 0,'4'-3'32'0,"0"0"-4"0,0 1 0 16,0 0-4-16,-1 2 0 0,1 0-4 0,1 1 0 0,-2 0 0 0,0 2-4 0,0 0 0 16,-1 1-4-16,0 0 0 0,-1 2 0 0,1 0-4 0,-1 1 4 0,0 0-4 15,-1 2 0-15,1 0-4 0,0 0 4 0,-1 1 0 0,1 1-4 0,-2 1 0 0,1-2 0 16,-1 3-4-16,0-2 4 0,0 1 0 0,-1 0-4 0,1 0 0 0,-1 1 0 15,-1-1 0-15,2-1 0 0,-2 0 0 0,2 0 0 0,-2 0 0 0,2-2 0 16,-2 0-4-16,1 0-4 0,1-1-4 0,-1-1-16 0,1-1-16 0,0-1-24 16,0-1 0-16,1 0 8 0</inkml:trace>
  <inkml:trace contextRef="#ctx0" brushRef="#br0" timeOffset="137914.8883">18595 9366 19 0,'12'-8'40'0,"2"-1"0"0,-2 0-4 15,2 3-4-15,-3 0 0 0,2-1 0 0,0 1-4 0,-2 2-4 0,1-1 0 0,-1 1 0 16,-1 1-8-16,0 1 0 0,-1-1 0 0,0 3 0 0,-1-1 0 0,0 2-4 15,-2-1 4-15,0 2-4 0,-1-1 0 0,0 2 0 0,0 1-4 0,-1-1 0 16,0 1 0-16,-1 1 0 0,0 0-4 0,0 0 4 0,-1 2 4 0,0-1-12 16,0 0 4-16,-2 0 0 0,1 1 4 0,-1 1-4 0,-1 0 4 0,1-1 0 0,-3 0-4 15,1 0-4-15,-1 1 8 0,0 0-8 0,0 0 0 0,-2-1 0 0,-1 0 4 16,1 0 0-16,-1 0-4 0,0 1 4 0,0-2 0 0,-3 1-4 0,3-1 4 0,-1 0 0 15,0-1 4-15,0 0-8 0,-1 0 0 0,2 0-4 0,-1-1 8 0,0 0-4 16,1 0 0-16,0-1-4 0,1 0 8 0,1 1-4 0,0-2 0 0,1 2 0 16,1-3 0-16,0 2 4 0,2-1 0 0,0-1 0 0,2 2-4 0,0-1-4 15,2 0 8-15,0 0-12 0,1 0 8 0,0-1 8 0,3 2-4 0,-1-1 0 0,2 1-4 16,0-1-4-16,1 1 4 0,-1-2 4 0,1 2-4 0,1 0 4 0,-1 1 0 15,1-1 0-15,-1-1 0 0,0 3 0 0,1-3 0 0,0 2 0 0,-2-1-4 16,0 1 4-16,0 1-8 0,-1-1 12 0,-1 1-8 0,-1-2 4 0,-1 2 0 0,0 0 0 16,-2 0-4-16,0 0 0 0,-1 0 8 0,-2-1-4 0,-1 1-8 0,-1 1 8 15,0 0 0-15,-2-1-8 0,-2 0 8 0,1 0 0 0,-2 1 0 0,1-2 0 0,-2 1-4 16,-1 0 4-16,0 0-4 0,0 0 4 0,-2 0-4 0,1-1 0 0,0 0 0 15,-1 0-4-15,0-1 4 0,1 1 0 0,-2-1-4 0,1-1 4 0,1 0-4 16,-1 1-8-16,0-3 4 0,2 1-4 0,-2 0-12 0,3-2-12 0,0 0-8 16,-1 0-28-16,1-1-24 0,2 0 4 0,0-3 12 0,1 1 8 0,0 1 8 0,1-2 8 15</inkml:trace>
  <inkml:trace contextRef="#ctx0" brushRef="#br0" timeOffset="138267.9085">19729 9336 11 0,'2'-3'28'0,"0"2"-4"0,0 1 0 16,0 0 0-16,0 1-4 0,-1 2-4 0,0 0 0 0,0 1-4 0,1 1 0 0,-2 0 0 16,1 2 0-16,-1 0-4 0,1 0 0 0,-1 1 0 0,0 0-4 0,0 1 4 15,0 0-4-15,0 1-4 0,0 0 4 0,0 0 0 0,1 1 0 0,0 0 0 0,0-1-4 16,-1 1 0-16,1-2 0 0,1 3 0 0,0-2 0 0,-1 0 0 0,1-1-16 15,0-1 0-15,-1 0-20 0,2-1-12 0,-1-1-16 0,1-1 8 0</inkml:trace>
  <inkml:trace contextRef="#ctx0" brushRef="#br0" timeOffset="138547.9243">20021 9242 35 0,'6'-9'36'0,"0"0"0"16,-1 3-4-16,0-1-4 0,-1 3-4 0,-2 1 0 0,1 1-4 0,-1 1 0 0,0 2 0 15,-1 2 0-15,0 0 0 0,-1 0 0 0,-1 3-4 0,0 1-4 0,0 0 4 16,-1 1-4-16,1 0 4 0,-1 1 0 0,1 0-4 0,-1 1 0 0,0 2-4 15,1-2 0-15,1 3 0 0,0-2 0 0,0 1 0 0,0 0 0 0,2-1 8 16,0 1-8-16,1 0 4 0,0 0-4 0,1-2 4 0,1 1-4 0,1-2 8 0,1 1-4 16,0-2-8-16,2-1-4 0,0 1 12 0,1-2-4 0,2-1-8 0,-1 0 4 15,1-1 4-15,2-1-4 0,-1 0-8 0,1-1 8 0,0-1 4 0,2 0-8 0,-2 0 8 16,1-1-8-16,-1-1-4 0,0 0 4 0,1 0 4 0,-1 0 4 0,0 0-12 15,-1-1 4-15,0-1 4 0,-2 2 0 0,0-2-4 0,1 2 8 0,-3-1-12 16,0 0 4-16,0 0 4 0,-3 0-8 0,1 0-4 0,-1 1 8 0,-2-1-4 16,0 0-12-16,-2 1-8 0,0-2-4 0,0 2-4 0,-3-1-12 0,0-1 0 0,-1 1-20 15,0-2-20-15,-3 2 4 0,1-1 4 0,-1-1 12 0,0 1 8 0</inkml:trace>
  <inkml:trace contextRef="#ctx0" brushRef="#br0" timeOffset="138773.9374">20242 9253 23 0,'4'8'36'0,"-2"-1"0"0,0 3-4 0,-1-1-4 0,0-1-4 0,0 3 4 0,0 0-8 16,-1 0 0-16,-1 0 0 0,0 1-4 0,0 0 0 0,0 1-4 0,-1 0 4 15,0 1-4-15,0 0-4 0,-1 0 0 0,1 0-4 0,-1 1 4 0,1-1 0 0,-1 2 0 16,-1-2-4-16,1 0 0 0,0 0 0 0,0-1 0 0,-2 0 0 0,1 0 0 15,1-2-4-15,0 0 0 0,0 0 0 0,1-2 0 0,-2 2 0 0,2-3 0 16,0 0 0-16,0 0 4 0,0-1-4 0,1-1 0 0,-1 0-4 0,1-2-4 16,1 0-4-16,0-1-4 0,0-2-16 0,0 0-16 0,1-1-28 0,1-1 4 0,-2 0 8 15,2-2 8-15</inkml:trace>
  <inkml:trace contextRef="#ctx0" brushRef="#br0" timeOffset="139161.9594">21210 9238 7 0,'0'0'40'0,"0"0"-4"0,0 2-4 0,-1 2 0 0,1 1-8 0,-1 2 4 15,1 0-8-15,-1 2 0 0,0 1-4 0,1 1 4 0,-1 1 0 0,0 2-8 0,-1 0 4 16,1 1-4-16,-2 1-4 0,1 0 0 0,1-1 0 0,-1 3 0 0,0-1 0 15,1 2-4-15,0-1 4 0,-1 1-4 0,2-1-4 0,-1 0 4 0,0 0-4 16,0 0 4-16,0-2-4 0,1 0 4 0,0 0-4 0,0-2-4 0,1-1 0 16,0-1-4-16,1 0-8 0,-1-2-8 0,1 1-24 0,0-4-24 0,1 0 0 0,0 0 8 15,1-3 8-15</inkml:trace>
  <inkml:trace contextRef="#ctx0" brushRef="#br0" timeOffset="139660.9879">21561 9340 7 0,'10'-9'32'0,"0"2"-4"0,-1 0 0 0,0 1 0 0,0 2-8 0,0 1 4 0,-3 0-4 15,1 2 0-15,-1 1-4 0,0 1 4 0,-1 0-4 0,-1 2-4 16,0 2 4-16,-1-1 0 0,0 1-4 0,0 1 4 0,-1 1-4 0,0 0 0 0,-1 1 0 16,2 1 0-16,-1 0 0 0,1 0-4 0,-1 0 0 0,2 2 0 0,-1 0 4 15,0-1-4-15,2 3-4 0,-1-3 4 0,1 1 0 0,0 1 0 0,0-1 0 0,0 0 0 16,2 0 0-16,-2-1 0 0,2 1 0 0,0-1 4 0,-1 0-4 0,2-1 0 15,0 1 4-15,-1-2-4 0,1 1 4 0,0-1 0 0,0 0 0 0,0-1 0 16,-1 2 0-16,1-2 0 0,-1-1-4 0,0 0 0 0,0 1 0 0,-2-1 4 16,2-1-8-16,-1 2 4 0,-1-1-4 0,-1-1 4 0,0 0-12 0,-1 1 12 0,1-3 4 15,-2 4-8-15,-1-2 4 0,0 0-8 0,-1 0 4 0,-1 0 8 0,-1 1-8 16,1-1 0-16,-3-2 0 0,1 2 0 0,-1-1 0 0,0 0 0 0,-2 1-8 0,0-1 4 15,0-1 4-15,-2-1-8 0,1 2 12 0,0-1-12 0,-3 0 8 16,2-2-8-16,-1 1 12 0,-1 0-4 0,0-1-4 0,0-1 0 0,0 0 0 0,-2 0 0 16,2-1 0-16,0-1-4 0,-2 0 4 0,1-1 4 0,0-1-12 0,0-1 4 15,0 0 4-15,1 0-4 0,0-2-8 0,0 0 4 0,-1-1-8 0,3 0 4 0,0-2-4 16,0 0-4-16,0 0 0 0,2-1 0 0,1-2 0 0,2 1 4 0,1 0 0 15,0-2 4-15,1 0 4 0,2 0 0 0,1 0 0 0,1-1 0 0,1 2 0 16,1-2 4-16,1-1 0 0,2 2 0 0,0 0 0 0,1-1 4 0,2 2 0 0,1 0 8 16,-1 0 0-16,2 2 4 0,0-2-4 0,2 3 8 0,0 0-8 0,1 1 4 15,-1 1 4-15,1 0 4 0,0 1-4 0,1 1 0 0,-1 1 0 0,0 0 0 16,0 1 8-16,-1 1-4 0,1 0 0 0,0 2 0 0,-2-1 0 0,1 1 0 0,-2 1 0 15,1 0-4-15,-1 1 4 0,-2-1 0 0,3 2-4 0,-4-1-4 0,2 1-4 16,-1-1 4-16,-2 0-4 0,1 1 0 0,-1 1 0 0,-1-2-4 0,-1 0 0 16,1 1 0-16,-2 0 0 0,0-2 0 0,-1 1-4 0,0 0 0 0,-1 0-4 0,0-1-4 15,-1 3-16-15,-2-3-12 0,-1 1-16 0,0 0-16 0,-2 0-24 0,-1 1-24 16,-2-1 4-16,0-1 12 0,0 2 12 0,-3-2 8 0,0 2 8 0,-3-2 12 0</inkml:trace>
  <inkml:trace contextRef="#ctx0" brushRef="#br0" timeOffset="140805.0534">10508 12441 23 0,'0'5'44'15,"0"-1"-4"-15,-1 1-4 0,0 1 0 0,0 1-4 0,0 1-8 0,0 1 4 0,0-1-8 16,0 1 0-16,0 1-4 0,-1 0 0 0,1 2 0 0,0-2-4 0,0 3 0 15,-1-2-4-15,2 1 0 0,-2 1-4 0,2-1 4 0,-1 1-4 0,0 1 0 16,1-3 0-16,0 3 4 0,0-2-4 0,1-1-4 0,-1 0 4 0,1 0-4 16,1-1 0-16,-2 0-8 0,2 0-8 0,0-2-8 0,-1 0-16 0,2-1-32 0,-2 0-8 15,1-2 12-15,0 2 8 0,1-3 4 0</inkml:trace>
  <inkml:trace contextRef="#ctx0" brushRef="#br0" timeOffset="141212.0769">10934 12064 35 0,'10'-10'36'0,"0"2"-4"0,-2 1-4 0,0 3-4 0,0 1 0 0,-2 3-4 16,-1 0-4-16,0 1 0 0,-1 3 0 0,-1 1 0 0,-1 2 0 0,-1 4-4 0,-1 0 0 15,-1 2 0-15,0 1-4 0,-3 4 8 0,0 1-4 0,0 3-4 0,-2 0 0 16,1 2 0-16,-2 2 4 0,0 2-4 0,2 0 4 0,-2 1-4 0,1 1 0 16,-2 1 0-16,2 1-4 0,0 0 4 0,0-1 0 0,0 0 0 0,0 0 0 0,1 1-4 15,1-2-4-15,-1-1 4 0,2 0 0 0,1-2 0 0,-1-1-4 0,2-1 4 16,1 0 0-16,0-3 4 0,0-1 4 0,3-2 0 0,-1-2 0 0,2 0-4 15,1-4 4-15,-1-2 0 0,3-1 4 0,1-3-4 0,1-2-8 0,0-2 4 16,1-2 0-16,1-2-4 0,1-1 8 0,0-1 4 0,-1-3-16 0,3-1 8 0,-2 0 0 16,0-2 0-16,2-1 0 0,-2 0 4 0,1-2-8 0,-1 0 4 0,0-1-4 15,0 1 4-15,-2-1-8 0,0 0 8 0,0 0-4 0,-2-1 0 0,0 0 0 0,-1 1-4 16,0 0 12-16,-3 1-4 0,-1 0-8 0,0-1 4 0,-3 3 0 0,0-1 0 15,0 0 4-15,-4 3 0 0,0-2-4 0,-1 3-4 0,-2 0 0 0,-1 0 0 16,0 2 0-16,-2 0 0 0,-1 1 0 0,-1 1 4 0,0 0-8 0,-1 0 4 16,0 1-8-16,-2 0 16 0,2 2-12 0,-2-1-4 0,2 0 0 0,-2 1-12 0,1-1-4 15,0 1-12-15,1 0-12 0,-1 0-12 0,2 0-32 0,0 0-8 0,0-1 8 16,0 0 12-16,3 1 8 0,-2-2 8 0,2 1 8 0</inkml:trace>
  <inkml:trace contextRef="#ctx0" brushRef="#br0" timeOffset="143908.2311">3031 10583 35 0,'1'-9'36'0,"0"0"0"0,0 2 0 0,-1-1 0 0,0 1 4 0,0 0-4 15,0 1 4-15,-1 1 0 0,-1 0 4 0,-1-1-4 0,2 2-4 0,-1-1 4 0,0 1 0 16,-2 1 0-16,2-1 4 0,-1 0 4 0,-1 2-4 0,1 0 0 0,1-2 0 15,-2 3-4-15,1-1-4 0,0 2 0 0,0-1 0 0,0-1-4 0,1 2 0 16,-2 0-4-16,1 2-4 0,-1-2 0 0,1 1-4 0,-1 1 0 0,-2 2 0 0,1 0-4 16,0 0-4-16,-1 1 0 0,-1 1 0 0,0 1 4 0,0 2-8 0,0 0 4 15,-1 2 0-15,-1 0 0 0,0 2-4 0,0 1 0 0,-1 1 0 0,1 0-8 0,-1 3 4 16,-2-1 4-16,1 1-4 0,1 1-4 0,-2 1-4 0,1 0 12 15,0 2-4-15,-1-1 4 0,1-1-4 0,0 2 4 0,0-1-4 0,0 2 0 0,-1-3-4 16,2 0 4-16,1-1-4 0,-2 2 0 0,3-3 4 0,-1 0 0 0,1-2 4 16,0 0 0-16,1-1-8 0,1-1 4 0,0-2 0 0,1-1-4 0,-1 0 0 0,1-3 0 15,1 0 0-15,1-1 0 0,0-1-4 0,0-1-4 0,1-1 4 0,0-1 4 16,0 0-8-16,2-1 0 0,-1-1 0 0,1-1-4 0,1-1-8 0,-1 0 0 15,1 0-8-15,0-2-12 0,1 1-8 0,0-1-12 0,0 1-4 0,0-1-12 16,0-1-8-16,0 2-12 0,0 0-24 0,0-1-4 0,-2 1 16 0,2 0 8 0,-1 1 12 16,0-1 12-16,0 1 8 0,-1 0 8 0</inkml:trace>
  <inkml:trace contextRef="#ctx0" brushRef="#br0" timeOffset="144823.2833">2407 11428 31 0,'-1'5'32'15,"-1"-1"-4"-15,0 1-4 0,1-1 0 0,0 2-4 0,-1-1-4 0,1 0 4 0,1 0-4 16,-1 0-4-16,1 1 4 0,0-1-8 0,0 0 8 0,1 1-8 15,-1-1 4-15,1 1-4 0,1 0 0 0,-1 0 0 0,2-1 0 0,0 2 0 0,1-1-4 16,1 1 4-16,0-1 0 0,1 1 0 0,0 2-4 0,0-2 4 0,2 0 0 16,-1 2 0-16,1-2-4 0,1 2 4 0,1 0 0 0,-1-1-4 0,0 1 4 0,2-1 0 15,0-1 0-15,0 2-8 0,0-1 4 0,2-1 0 0,-2 1 0 0,2-2 4 16,0 0-4-16,1 0 0 0,-1-2 0 0,2 1 0 0,-1-1 0 0,1-1 4 15,-1-1 0-15,1 0 0 0,0-1-4 0,1-1 8 0,-1-1-4 0,0-2 0 16,0-1 4-16,1 0 0 0,-2-2-4 0,0 0 4 0,2-2-4 0,-2 0 0 0,1-2 0 16,-1 0 0-16,0-1 4 0,-1-1-8 0,1-1 8 0,-1-1-12 0,0 0 0 15,-2-2 12-15,1 1-8 0,0-2-8 0,-1 0 4 0,0 0 4 0,-1-1-4 0,0-1 0 16,0 0 0-16,0-1 4 0,-2-2 0 0,0 2 4 0,1-2-4 0,-2 0 4 15,0-2-4-15,-1 2 0 0,0-1-4 0,0 0 0 0,-2 0-4 0,0 1 4 16,-1 0 0-16,-1 0 4 0,-1 0 0 0,-1 1-4 0,0 1 0 0,-2 0 8 0,0 1 4 16,-2-1 0-16,0 2-8 0,-1-1 4 0,0 3 0 0,-2-1-4 0,0 1 4 15,-2 2 0-15,0 1-8 0,-1 1 4 0,0 1-8 0,-3 2 8 0,2 1 8 0,-3 2-12 16,1 2 4-16,-3 1 4 0,1 1 0 0,-1 4-8 0,-1-1 0 15,-1 3-4-15,1 1 4 0,-2 1 0 0,1 1-4 0,-1 2 0 0,-1 1 8 0,1 0-4 16,-2 2 0-16,1 0 0 0,0 1 4 0,0 0 4 0,0 1 0 0,0 0-8 16,-1 2 0-16,1 0 0 0,1-1 0 0,-1 2-4 0,0-2 0 0,1 2 4 0,0-2-4 15,1 1-4-15,0 0 0 0,2-2 8 0,-1 1-8 0,0 1-4 0,4-4 12 16,-1 1-4-16,0 0-4 0,3-1-12 0,-1-1-12 0,2-1-4 0,1-1-4 15,2 1-8-15,-1-2-16 0,3-1-32 0,0 1 8 0,1-2 4 0,1-1 12 0,2 0 4 16,0-1 8-16</inkml:trace>
  <inkml:trace contextRef="#ctx0" brushRef="#br0" timeOffset="145450.3193">2817 10514 7 0,'2'-4'36'0,"-1"0"0"0,1-1-8 0,-1 2 0 0,0-1-4 0,1 0 0 16,-1 1-8-16,0 0 0 0,0 0 0 0,0 1-4 0,0-1 0 0,0 1 4 16,-1 0-8-16,0-1 0 0,0 1 0 0,0 1 0 0,0-2 0 0,0 2 4 0,0 0-8 15,-1 0 4-15,1-1-4 0,0 2 0 0,0 0-4 0,-1-1 0 0,1 1 4 16,0 0-4-16,0 1 0 0,1-1 0 0,-1 0 4 0,1 2-4 0,-1 0 0 15,0-1-4-15,0 2-4 0,1 0-4 0,0 1-20 0,-1-1-36 0,0 1 0 16,0 2 4-16,-1-2 4 0</inkml:trace>
  <inkml:trace contextRef="#ctx0" brushRef="#br0" timeOffset="145612.3283">2789 10830 43 0,'1'6'44'16,"0"-1"-8"-16,1-2 0 0,-1 2-4 0,0-1-8 0,0 0 0 0,0-1-4 15,0 1 0-15,0-1-4 0,-1 1 0 0,1 0-4 0,-1 0-4 0,1 1 4 16,-1 0-4-16,0 0-4 0,0 0 0 0,0 2 0 0,0-1 0 0,-1 2-4 15,1 0 4-15,-1-1-8 0,1 2 0 0,0 1-4 0,1 0-4 0,-1 1-12 0,1 0-20 16,0 0-24-16,0 0-4 0,0 0 8 0,-1 1 8 0</inkml:trace>
  <inkml:trace contextRef="#ctx0" brushRef="#br0" timeOffset="145740.3359">2909 11151 19 0,'2'-1'24'0,"-1"1"0"0,0 0-4 0,0 1 0 0,0-1-8 0,-1 1 0 15,1 0 0-15,-1 0 0 0,0 1-4 0,-1 0-4 0,1 0 0 0,0 0 0 0,-1 0 4 16,2 2-8-16,-1-1-4 0,0-1-16 0,1 1-32 0,0 1-8 15</inkml:trace>
  <inkml:trace contextRef="#ctx0" brushRef="#br0" timeOffset="148193.4762">10634 11528 3 0,'-6'-3'40'0,"-1"0"-8"0,0 0 4 0,1 0-4 0,-2-1 0 0,2 2-4 15,-1-2 4-15,2 1-4 0,-3-1 0 0,2 1-4 0,1-1 0 0,0 1-4 16,0 0-4-16,0-1 4 0,-1 1-4 0,3 0 0 0,-1 2 0 0,3-2-4 0,-1 1 0 15,2 0 0-15,0 0 0 0,2 0 4 0,0 0 0 0,1 1-4 0,1-1 0 16,3 0-4-16,0 0 4 0,-1 2 0 0,3-2-4 0,1 2 4 0,0 0 0 16,1-1-4-16,2 1 0 0,-1-1 0 0,3 1 0 0,-2-1 0 0,3 1 0 15,0-1-12-15,0 1 8 0,2-1 4 0,0 1-4 0,0 0 4 0,1 0 0 0,0-1 0 16,0 1-8-16,0-1 0 0,1 1 4 0,-1 0 4 0,1 0-4 0,-2 0-4 15,1 0 4-15,0-2-4 0,-2 2-4 0,1 0 0 0,-3 0 4 0,2-1 4 0,-3 1 4 16,1 0 0-16,-2-2-8 0,-1 2 4 0,0-1 0 0,-3 0 4 0,2 0 0 16,-2 0 0-16,-1 0 0 0,-1 1-4 0,0-1 4 0,-1 0 0 0,-2 1-4 15,0-1 0-15,-1 1 4 0,-1-1-8 0,0 1 4 0,-2-1-4 0,0 0-4 0,0 1 0 16,-2 0 8-16,0 0-8 0,0 0 4 0,-2 0-4 0,1 0 0 0,-1 0-4 15,0 0-12-15,-2 0-8 0,1 0-12 0,-1 0-4 0,1 0-12 0,0 0-24 16,-1 0-16-16,-2-1 4 0,3 1 8 0,-2 0 12 0,0 0 4 0,0 0 8 16</inkml:trace>
  <inkml:trace contextRef="#ctx0" brushRef="#br0" timeOffset="149480.5498">11973 10718 35 0,'-1'-1'36'0,"0"-1"0"0,0 1-4 0,0-1-4 16,0 2 0-16,1-2-4 0,-1 2-4 0,0-2 4 0,0 1-4 0,0-1-4 0,0 2 0 15,0-2 0-15,-1 2-8 0,0-2 4 0,2 1 0 0,-1-1-4 0,1 1 4 16,0 0-4-16,1-1 0 0,0 1 0 0,2 0 0 0,0 1 0 0,0-2 0 16,1 1-4-16,1-1 4 0,0 2 0 0,1-2 0 0,2 0 0 0,0 1 0 0,0 0-4 15,1 0 4-15,2-1-4 0,0 0 0 0,2 1 0 0,-2 0 0 0,2 0 0 16,2-1 0-16,-1 1 4 0,2-1 0 0,-1 2-4 0,1-1-4 0,1 0 4 15,0 0 4-15,-1 1-4 0,1 1-4 0,0-1 0 0,-1 1 8 0,0 0-8 0,0-1 0 16,0 2 4-16,-2 1 0 0,1-1 0 0,-2 1 0 0,0 0 4 0,-1 1 0 16,-1 2 4-16,1 0-4 0,-3 0 0 0,-1 1 0 0,-1 0 0 0,0 2 0 15,-1-1 0-15,-2 2 0 0,0 0 4 0,-2-1 4 0,0 3-8 0,-1-1 4 16,-2 2 0-16,1 0 0 0,-2 0-4 0,1 0 4 0,-2 1-4 0,1 1 4 0,-2-1 0 15,0 1-4-15,1 0 0 0,-2 0 0 0,1 0-4 0,0 1 4 0,0 0-4 0,-1 0 4 16,1-1-4-16,0 0 0 0,-2 0 0 0,2-1 0 0,0 2 0 16,0-2 0-16,1 0 0 0,0-1 0 0,-1 0 0 0,1 0 0 0,-1 0 0 0,1-1 0 15,0 0 0-15,1-1-4 0,-1 1 4 0,1-2 0 0,0 1 0 0,0-1-4 16,0-1 0-16,-1 1 0 0,2-2 4 0,-1 1-4 0,1 0 0 0,-1-1 0 0,-1 0 0 15,2 0 0-15,-1-2 0 0,0 0 4 0,1 1-4 0,-1-2 0 0,1 1 0 16,0-1 0-16,-1-1 0 0,0 1 0 0,2 0 0 0,-2-2 4 0,1 1-4 16,0-1 0-16,0 1 4 0,0-1 0 0,0-1 0 0,0 0-8 0,1-1 4 15,-1 1 4-15,1-1 0 0,0 1-4 0,0-2 0 0,-1 1-12 0,1-1 16 0,0 1 0 16,0-1 0-16,0 0-4 0,0 0 4 0,1-1 0 0,-1 1-8 0,0 0 8 15,0-1 0-15,0 1-4 0,0-2-4 0,1 2 8 0,-1-1-4 0,1 1 0 0,0-2 0 16,0 1 0-16,0 0 0 0,0 0 0 0,0-1-4 0,1 0 0 16,-2 1 4-16,3-1-4 0,-2-1-4 0,2 1-8 0,-1 1-8 0,1-2-12 0,-1 0-8 15,3 0-8-15,-2 1-12 0,-1-3-20 0,2 3-28 0,-1-3 8 0,0 3 12 16,0-2 16-16,0 1 0 0,-1-1 16 0,2 0 8 0</inkml:trace>
  <inkml:trace contextRef="#ctx0" brushRef="#br0" timeOffset="151264.6518">5148 10342 31 0,'-4'1'44'0,"0"2"-4"0,0-2-4 15,-1 2-8-15,2-2 0 0,0 2 0 0,-1-1-8 0,0 0 0 16,1 0 0-16,0 0-4 0,0 0 0 0,1 1-4 0,-1-1 4 0,0 1-4 0,0-1 0 15,0 2-4-15,-1-1 0 0,1 0 0 0,0 1-4 0,0-2 0 0,1 4 0 16,-1-2 0-16,1 1 0 0,0 0 0 0,1 0 0 0,0 2-4 0,0-1 0 0,0 1 0 16,0 0-4-16,0 0 0 0,1 0 4 0,0 0-4 0,0 1 4 0,0 0-4 15,-1-1 4-15,2 1 0 0,-1 0-4 0,0 1 0 0,0-2-4 0,0 1 4 16,1-1 0-16,1 1-4 0,-1-2 0 0,0 1 0 0,2-1-4 0,-2 1-4 15,2-2-12-15,-1 1-8 0,0-2-24 0,0 1-8 0,0 0 8 0,0-1 8 0</inkml:trace>
  <inkml:trace contextRef="#ctx0" brushRef="#br0" timeOffset="151525.6668">5128 11153 11 0,'0'5'20'0,"1"-1"-4"0,-2 1 0 0,2-1-8 0,-1 0 0 16,0 0-4-16,0 0 4 0,0-1-8 0,0 2-12 0,0-2-24 0</inkml:trace>
  <inkml:trace contextRef="#ctx0" brushRef="#br0" timeOffset="152525.7239">4914 11221 7 0,'-2'1'12'0,"2"0"4"0,-1 1-4 16,0-1 4-16,1 1 4 0,-1-1-8 0,1 0 4 0,0 2 0 0,0-1 0 0,0 0 0 16,0 1-4-16,0-1-4 0,0 0-4 0,0 1 4 0,1-1 0 0,-1 1 0 15,0 0-4-15,0 0 4 0,1 0-4 0,-1 0 0 0,1 0 4 0,-1 1-4 16,0-2 0-16,1 1 0 0,-1 0 0 0,1 1 0 0,-1-1-4 0,1 0 4 15,-1 0-4-15,1-1 0 0,-1 0 0 0,0 0 4 0,1 1-4 0,0-1 4 0,0 0 0 16,0-1 0-16,-1 2-4 0,1-2 0 0,0 0 0 0,0 0 0 0,0 1 0 16,0-1-4-16,-1 0 4 0,1 0 0 0,0 0 0 0,0-1 4 0,0 1-4 0,0 0 0 15,-1 0 0-15,1-1 0 0,0 1 0 0,0 0 0 0,0-1 0 0,-1 2 0 16,1-2 0-16,0 0 0 0,0 1 0 0,0-1 0 0,1 2 0 0,-2-2 4 15,1 1-16-15,0 0 16 0,0-1-4 0,0 1 4 0,-1 0-4 0,1 0 4 0,0-1-4 16,0 2 4-16,1-1-4 0,-1 0 4 0,1 0-4 0,-1 1 0 0,1 0 4 16,0-1-4-16,0 2 4 0,1-2-4 0,-1 1 0 0,1 2 0 0,2-2 0 0,-2 1 0 15,1 0 0-15,0 0 0 0,0 0 4 0,1 1-4 0,0-1 0 16,1 1 0-16,0-1 4 0,-1 2-8 0,2-2 4 0,-1 1 0 0,2 0 0 0,-1 0 0 15,0-1 0-15,0 2 0 0,2-2 0 0,-2 1 0 0,1-1 0 0,0 0 4 16,1 0-4-16,-1 0 0 0,0-1 0 0,0 1 0 0,2-1 0 0,-2-1 0 0,1 1-4 16,0-1 4-16,-1 0 4 0,0 0-4 0,0-1 4 0,1 0-4 0,-1-1 0 15,0 0-4-15,-1 0 8 0,1 0 0 0,0 0-4 0,-2-1 0 0,2 1 0 16,-1-2 0-16,0 1 0 0,-1-1 0 0,1 0 0 0,-1 0 4 0,1-1-4 0,-1 0 0 15,0 0 4-15,-1 0 0 0,0-1-4 0,1 0 0 0,-2-1 0 0,1 1 4 16,-1-1-4-16,1 0 0 0,-2 0 0 0,2-1 0 0,-1-1-4 0,0 1 4 0,-1-2 0 16,0 1 0-16,0-2 0 0,-1 1-4 0,2-1 8 0,-2 0-4 0,0 0 0 15,-1 0 0-15,1-1 0 0,0 2 0 0,0-2 0 0,-2 1 4 0,0-1-4 16,0 0 0-16,0 1 0 0,-2 0 4 0,1 0-4 0,-2 1 0 0,2-2 0 15,-3 2 0-15,1 0 4 0,-1 0 0 0,0 0 0 0,-2 0-4 0,0 2 4 0,-1 0-4 16,0 0 4-16,-2 1-4 0,0 1 4 0,-1 0-4 0,0 0 0 0,-2 1 4 16,1 2 0-16,-1-2 0 0,-2 2-4 0,1 1 0 0,-2-1 4 0,2 0-4 0,-3 2 0 15,1-1 0-15,0 2 0 0,-1 0 0 0,0 0-4 0,1 1 4 0,-1 0 0 16,1 1 0-16,0 0 0 0,1 0 0 0,-1 1-4 0,2 1-4 0,-1-2 4 15,2 3 0-15,1-1-4 0,-1 1 0 0,2 0-8 0,1-1-4 0,0 1-20 0,2 0-28 16,1 0 0-16,0-2 8 0,2 2 4 0</inkml:trace>
  <inkml:trace contextRef="#ctx0" brushRef="#br0" timeOffset="152833.7416">5457 10526 3 0,'-1'-1'8'0,"1"0"0"16,-1 1-4-16,1 1 0 0,0 0 4 0,0 1 0 0,1 1 0 0,-1 1-12 0,1-1 8 15,0 2 0-15,0 0 0 0,-1 1-4 0,1 0 0 0,1 1 0 0,0 1-4 16,-1 0 8-16,1 1-8 0,0 1-24 0</inkml:trace>
  <inkml:trace contextRef="#ctx0" brushRef="#br0" timeOffset="152985.7503">5671 11001 7 0,'0'0'8'0,"0"1"0"0,0 1 0 0,0-2-4 0,0 1 0 0,0 1 0 0,0-1-4 0,0 1-4 16,1-1-8-16</inkml:trace>
  <inkml:trace contextRef="#ctx0" brushRef="#br0" timeOffset="153415.7749">5889 11499 3 0,'7'0'32'15,"0"0"-4"-15,-1 0 0 0,1-1-8 0,0 0 4 0,1-2-4 0,-1 2-4 16,1-2 0-16,-1 0 0 0,1 0 0 0,-1-2-4 0,0 1-4 0,1-1 0 0,-1 0 0 15,0 0 0-15,0-1 0 0,-1 0 0 0,0-1-4 0,0 1 0 0,0-1 4 16,-1 0-4-16,0 0 0 0,-1-1-4 0,-1 0 4 0,1 2 0 0,-1-2-4 0,-1 0 4 16,-2 1-4-16,1 0 4 0,-2-1 0 0,1 1-4 0,-3 0 4 0,1 0-4 15,-3 0 4-15,0 1 0 0,0 0 0 0,-2 1-4 0,-1-1 4 0,-1 1-4 16,-1 1 0-16,0-1 0 0,-2 2 4 0,1 0 0 0,-2 0 0 0,0 1-4 15,0 0 0-15,-1 1 4 0,1 0 0 0,-2 0-4 0,1 1 0 0,-1 0 0 0,1 1-4 16,0 1 4-16,1-2 4 0,0 3-4 0,-1-2-4 0,2 2 4 0,-1-1 0 16,2 1-4-16,1 0 4 0,-1 2 0 0,2-3 0 0,2 1-4 0,-2 1-8 0,4 0-12 15,-1 1-32-15,2-3-20 0,1 1 12 0,0 0 4 0,1 0 8 16</inkml:trace>
  <inkml:trace contextRef="#ctx0" brushRef="#br0" timeOffset="153898.8025">6148 10628 15 0,'0'2'28'0,"0"1"0"0,0 2-8 16,1 0 0-16,-1 0 0 0,0 0-4 0,0 0 0 0,0 3-4 0,0 0 0 16,0 0 0-16,0 2-4 0,-1-2 0 0,1 2 0 0,0 0-8 0,-1 1 0 0,1 0 0 15,-1 1 4-15,0-1-4 0,0 0 4 0,0 2-8 0,1-2 4 16,-1 1-4-16,1 0-12 0,-1-1-8 0,-1 0-16 0,1 0-16 0,0-1 0 0</inkml:trace>
  <inkml:trace contextRef="#ctx0" brushRef="#br0" timeOffset="154450.8339">6273 11559 7 0,'7'-3'32'0,"0"0"-4"0,2-1-4 0,-2 1-4 0,1 0 4 0,-2-2-8 15,3 1 0-15,-2-1 0 0,-1 0 0 0,2 0 0 0,-2 0-4 0,2 0 0 16,-2-1-4-16,0 0 0 0,0 1 0 0,1-2 0 0,-2 1 0 0,1 0 0 0,-1-1 0 16,-1 1 0-16,1-1 0 0,-2 0-4 0,2 1 4 0,-1-1-4 0,-2-1 0 15,1 1 0-15,-2 0 0 0,1 0 0 0,-1 0 0 0,-1 0 0 0,-1 0 0 16,0 0 0-16,0 0 4 0,-1 0-8 0,-1 0 8 0,0 1-4 0,-2 0 0 0,1 0 0 15,-1 0-4-15,-2 0 4 0,2 1-4 0,-4 0 4 0,2 1 0 0,-1-1 0 16,0 2-4-16,-2-1 4 0,1 1-4 0,-1 1 4 0,-1 0-4 0,1 1 4 16,-1-1-4-16,1 1 4 0,-1 1-4 0,1 0-4 0,-2 1 4 0,3-1-4 15,-1 2 0-15,0 0 4 0,1-1 0 0,1 2 0 0,-1-1-4 0,1 2 0 0,1-2-4 16,2 2-4-16,-1-1-16 0,1 1-32 0,0-1-20 0,2 1 12 0,-1-1 8 15,2 1 4-15</inkml:trace>
  <inkml:trace contextRef="#ctx0" brushRef="#br0" timeOffset="156502.9512">13398 11062 19 0,'6'0'28'0,"3"0"-4"0,-2 0 0 0,1 0-4 0,1 0 0 0,1 0 0 16,-1 0 0-16,0 2-4 0,2-2 0 0,0 0-4 0,0 0 4 15,2 0-4-15,-2 0 4 0,3 1-4 0,-2-1 4 0,0-1 0 0,1 1-4 0,-1 0 4 16,1 0 0-16,-1-2-4 0,-1 2 0 0,2-1 0 0,-2 0 0 0,1 1 0 15,-2-2 0-15,-1 2-4 0,2-1 4 0,-2 0-8 0,-1 0 4 0,1 0-4 0,0 0 4 16,-2-1 0-16,0 2 0 0,-1-2 0 0,2 1 0 0,-2 0-4 0,-1 0 4 16,-1 1 0-16,1 0-4 0,-1-2 0 0,-1 1 4 0,1 1-8 0,-1-1 4 15,-1 1 0-15,0-1 0 0,-1 1 0 0,1 0-4 0,-1 0 4 0,0-1 0 16,-1 1-4-16,0 1 0 0,-1-1 0 0,1 0 0 0,-1 0 0 0,0 0-4 0,0 1-4 15,0 0 0-15,-1-1-4 0,1 0-12 0,0 0-12 0,-1 0-8 0,0 0-28 16,1 1-12-16,-2-1 8 0,1 0 8 0,1 0 8 0,-1 0 4 0</inkml:trace>
  <inkml:trace contextRef="#ctx0" brushRef="#br0" timeOffset="157501.0085">14987 10876 23 0,'10'0'28'0,"0"3"0"0,2-2-4 0,-1 0 0 0,3 1-4 15,-2 0 0-15,0-1-4 0,2 1 0 0,-1-1-12 0,1 1 12 0,0 0 0 0,1-1-4 16,-2 1 0-16,2-1 0 0,-2 1 0 0,1 0-4 0,0-2 0 0,-1 2 0 0,0 0 0 15,-1-2 0-15,1 2 0 0,-3-1 0 0,1-1-4 0,-1 2 0 0,-1-1 0 16,-1 0 0-16,0 1 0 0,0-1-4 0,-1-1 4 0,-2 1-4 0,0 0 0 0,0 0 0 16,-1-1 4-16,1 1 0 0,-2 0 0 0,-1 0 0 0,1-1-4 15,-2 0 0-15,1 2 0 0,-1-2 0 0,0 0 4 0,0 0-4 0,-1 0 0 0,1 1 0 16,-1-1-4-16,0 0 0 0,0 1 4 0,0-1-4 0,0 0-8 0,0 0-16 15,0 0-16-15,-1 0-28 0,1 0 0 0,0 0 8 0,-1 0 8 0</inkml:trace>
  <inkml:trace contextRef="#ctx0" brushRef="#br0" timeOffset="158225.0499">16739 10997 19 0,'4'-1'32'0,"1"-1"-4"0,2 0 4 0,1 1-4 15,2-1-4-15,1 0 0 0,0 0 0 0,3 1-4 0,0-2 0 0,3 3 0 16,-1-2-4-16,3 1 0 0,0-1 0 0,1 2 0 0,1-1-4 0,0 1 0 0,0 0 0 15,2-1-4-15,0 1 4 0,0-1 0 0,-2 1-4 0,2 0 4 0,0 0-4 16,0 0 0-16,-2 0 0 0,1 1 0 0,-2-1-4 0,0 1 0 0,0-1 0 0,-2 0-4 16,-1 1 4-16,0-1 0 0,-3 2 0 0,0-1-4 0,-1 0 0 15,-2 0 4-15,0-1-4 0,-2 2 4 0,-2-1 0 0,1 0 4 0,-1 0-4 0,-2 0 0 16,-1-1 0-16,-1 2 0 0,-1-2-4 0,0 1 0 0,-1 0 0 0,-1 0 0 15,0-1 0-15,-2 1-4 0,1 0 4 0,-2-1-4 0,0 0-4 0,-1 2-12 0,-1-2-16 16,-1 0-16-16,-1 0-24 0,0-2-4 0,0 2 4 0,-3-1 16 0,1 0 4 16</inkml:trace>
  <inkml:trace contextRef="#ctx0" brushRef="#br0" timeOffset="159164.1037">6778 10633 3 0,'-3'-2'36'0,"-1"0"-4"0,0 2-4 0,1-1-4 0,0 1 0 16,-3-2-4-16,3 2 0 0,1 0-4 0,-2-1-4 0,1 1-4 0,1 0 4 15,-1-1-4-15,0 1 0 0,1 1 0 0,-1-1 0 0,0 1-4 0,-1-1 0 16,2 2 0-16,0-1 0 0,1 0 0 0,0 0 0 0,-1 2 0 0,1-1-4 0,1 1 0 15,0 1 0-15,0-1 0 0,0 0 0 0,0 1 0 0,0 0 0 0,1 0 0 16,0 1 0-16,0 0-4 0,0 0-4 0,1 1 0 0,-1 0-8 0,1 2-12 0,-1-3-36 16,1 2 0-16,0 0 4 0</inkml:trace>
  <inkml:trace contextRef="#ctx0" brushRef="#br0" timeOffset="159641.1309">6923 11286 3 0,'-1'-8'32'0,"0"1"-4"0,0 0 0 0,-1 0-4 0,-1-1-4 0,-1 3-4 0,-1 0 0 16,0 0 0-16,0 1-4 0,-2 0 0 0,1 1 0 0,-4 1 0 0,2 0-4 15,0 1 4-15,-2 0-8 0,1 1 4 0,-1 1-4 0,1 0 0 0,-2 0-4 0,1 1 0 16,1 0 4-16,-1 0 0 0,0 1-4 0,2-1 0 0,-2 2-4 0,1 0 4 16,2-1-12-16,0 1-12 0,-2-1-36 0,4 2-4 0,0-1 8 0,1 2 0 15</inkml:trace>
  <inkml:trace contextRef="#ctx0" brushRef="#br0" timeOffset="161036.2107">18300 11101 3 0,'-1'0'36'0,"1"0"-8"0,0 0 0 0,0 0 0 0,0 0-4 0,0 0-4 0,0 0 0 16,0 1 4-16,0-1-4 0,0 0 0 0,-1 0-4 0,1 0 0 0,0 0 0 16,0 0 0-16,0 0 0 0,0 0 0 0,0 0 0 0,0-1 0 0,0 1-4 15,0 0 0-15,0 0 0 0,0 0 0 0,0 0 0 0,0 0 0 0,0 0 0 16,1 0 0-16,-1 0 0 0,0 0-4 0,0 0 0 0,0 0 0 0,0 0 0 0,0 0 0 15,0 0 0-15,1 0 0 0,-1 0 0 0,0 0 0 0,0-1-4 0,1 1 0 16,-1 0 8-16,1 0-4 0,-1-1-4 0,0 1 4 0,0 0-4 0,0 0-4 0,1 0 0 16,0 0 0-16,-1 0 8 0,2-1 4 0,-1 1-12 0,0-1 4 15,1 1 4-15,-1 0 0 0,0-1-8 0,2 1 0 0,-1 0 0 0,0-2 8 0,1 2 4 16,1-1-4-16,0 1-8 0,0-1 8 0,2 1 0 0,-1-1-4 0,1 1 0 15,1 0 4-15,-1-1 4 0,3 1-4 0,0-1-4 0,0 0-4 0,1 0 4 0,1 1 4 16,1-2 0-16,2 1 0 0,-1-1 0 0,2 1 0 0,0 0-8 0,2-1 8 16,-1 0-4-16,2 0 4 0,-1 0 0 0,2-1 0 0,0 1 0 0,-1 0 0 15,2-1 0-15,-2 1 0 0,2-1 0 0,-1 0 0 0,-1 0 0 0,1 0 0 0,-1 1 4 16,-1-1-8-16,1-1 4 0,-1 1 4 0,-1 0-8 0,-1-1 0 0,1 1 8 15,-3 1 0-15,1-1 0 0,-2 0-4 0,-1 0 0 0,0 2 0 0,-2-2 0 16,0 0 0-16,-1 2 0 0,-1-1-4 0,-2 1 0 0,-1 0 4 0,1 0 0 0,-1 0-4 16,-2 1 4-16,2-2-4 0,-3 2 0 0,0 0 0 0,0 0 0 0,0 0 0 15,-1 0 0-15,-1-2-4 0,0 2 4 0,-1 0-4 0,1 0 4 0,-2 2-4 16,1-2 0-16,0 0 0 0,0 0 0 0,-1 0 0 0,0 2 0 0,0-2 0 0,0 1-8 15,0 0 0-15,-1 0 0 0,-1-1-16 0,1 1-12 0,1 0-12 0,-1 0-12 16,-1 0-12-16,1-1-28 0,-1 0-24 0,1 0 8 0,-2 2 16 0,2-2 8 0,-1 1 12 16,0-1 8-16,1 0 8 0</inkml:trace>
  <inkml:trace contextRef="#ctx0" brushRef="#br0" timeOffset="162138.2738">20014 10708 7 0,'4'-1'24'0,"1"1"4"0,0-2-16 0,2 4 12 0,0-2-4 0,1 1-4 16,0 1 0-16,2 0 0 0,0 1-4 0,1 0 0 0,1 2-4 0,-2-2 4 0,3 3-4 16,-2-1-4-16,1 2 4 0,2 0 0 0,-2 0 0 0,2 2-4 15,-1-1 0-15,1 2 0 0,1 1 0 0,-1-1-4 0,2 1 0 0,-2 0 4 0,1 2-4 16,-2-2 4-16,2 1 0 0,-3 0-4 0,1 1 4 0,-1-1 0 0,-2 1-4 15,0-2 0-15,-1 1 0 0,-1-1 0 0,-3 1 4 0,2-2 0 0,-3 1-4 0,0 0 4 16,-3-2-4-16,0 1 4 0,-1 0 0 0,-2-2-4 0,0 1 4 0,-1-1 0 16,-2 1 0-16,-1-2-4 0,-1 0 0 0,1 0 0 0,-3-1 4 0,0-1 0 15,0 1-4-15,-1-2 0 0,0 1 4 0,0-1-4 0,-1-2 8 0,-1 1-4 0,3-2 0 16,-2 1 4-16,0-2 0 0,1 0 0 0,1-2 0 0,-1 0 0 0,2-1 0 15,1-2 0-15,0 0 0 0,0-1 0 0,3-2 0 0,0 0 0 0,1-1 0 0,1-2 0 16,2 2 0-16,0-4 0 0,1-1-4 0,2 1 0 0,0-2 0 0,2-1 0 16,1-1 0-16,1 0 4 0,0-1 4 0,2-1 4 0,2-1-8 0,0 0 4 15,1 0 4-15,2 0-8 0,-1-1 4 0,2 1 4 0,-1-2-4 0,2 2 0 16,-1-1-4-16,1 1 0 0,-3 0 0 0,3 1 8 0,-3 1 4 0,1-1-4 0,0 2 0 15,-3-1 0-15,1 2 0 0,-3 0 0 0,0 0-4 0,-2 1 0 0,-1 2-4 16,-2 0 4-16,-1 2-8 0,-3 0 4 0,0 2-4 0,-3 1 0 0,-1 1 0 0,-2 1 4 16,-2 1-8-16,-2 1 8 0,-1 2-8 0,-3 0 8 0,0 1-4 15,-3 1 0-15,-1 1-4 0,-2 1 4 0,-1 0-4 0,1 1 0 0,-3 1 4 0,0 0-8 16,-1 1 4-16,1 0 0 0,-2 1 4 0,1 0-4 0,0 1 4 0,0 0-8 15,1-1 4-15,1 2 0 0,0 0-4 0,1 0 0 0,1 0-4 0,1 1 0 0,1-1-4 16,1 1-4-16,2-1-24 0,0 1-8 0,4-2-16 0,-2-1-20 0,4 1-24 16,1 0 8-16,2-1 12 0,1-1 8 0,0 0 12 0,2-2 8 0,2 1 8 15</inkml:trace>
  <inkml:trace contextRef="#ctx0" brushRef="#br0" timeOffset="163088.3279">8549 10475 15 0,'4'-3'32'0,"-1"0"0"0,0 2-8 0,0 0 0 0,-1 1 0 16,1 0-4-16,-1 1 0 0,0 0-4 0,-1 1 0 0,2 1-4 0,-2 1 0 0,0 0 0 15,0 1-4-15,-1 1 0 0,0 0 0 0,0 1-4 0,0 0 4 0,0 3-4 16,-1-2 0-16,1 2 0 0,-1 2 0 0,1-1-4 0,0 3 0 0,1-1 0 16,0 1 0-16,0 2 0 0,1-1-4 0,-1 0 0 0,1 1 4 0,1 0-4 15,0 1-4-15,0-2-8 0,0 1-24 0,1-1-24 0,-1 0 0 0,3-2 8 0</inkml:trace>
  <inkml:trace contextRef="#ctx0" brushRef="#br0" timeOffset="163248.3373">8750 11219 3 0,'2'2'0'0</inkml:trace>
  <inkml:trace contextRef="#ctx0" brushRef="#br0" timeOffset="163628.3589">9044 11452 11 0,'9'-11'28'0,"0"0"-4"0,0-1 0 0,-2 0-4 0,1 0 0 0,-2-1 0 0,0 1-4 16,-1 0 0-16,-1 1-4 0,-1-2 0 0,-1 1 0 0,0 0-4 16,-2 0 0-16,-1 1 0 0,-1-1 0 0,-1 2 0 0,-1-1 0 0,-2 0 0 0,-1 1 0 15,-1 1-4-15,-1 0 0 0,-2 0 4 0,-2 1-4 0,1 1 0 0,-4 0 0 16,1 0 0-16,-3 2 0 0,-1 1 0 0,1-1 0 0,-3 1 0 0,-1 2 0 0,0 0-4 15,0 1 0-15,-1 0 4 0,-1 1-4 0,2 1 0 0,-1 0 0 0,0 1-12 16,1 0 16-16,-2 1-4 0,2 1 0 0,1 0 0 0,1 0 0 0,0 1 0 16,1 0-4-16,3 2 4 0,-1-1 0 0,2 0-4 0,1 0-12 0,3 1-28 0,0 0-28 15,1 0 8-15,3-1 4 0,1 1 8 0</inkml:trace>
  <inkml:trace contextRef="#ctx0" brushRef="#br0" timeOffset="165029.4391">8671 11430 27 0,'-10'-1'36'0,"0"1"-4"0,1-1-4 16,-1 1-4-16,2 0-4 0,-1 0 4 0,2 0-4 0,-1 1 0 0,2 1-4 0,0 0 0 15,1 2 0-15,1 0-8 0,1-1 4 0,1 3 0 0,0 0-4 0,2 0 0 16,0 1 0-16,3 0 0 0,0 2 0 0,2 0 0 0,1 0-4 0,1 0 0 15,3 1 4-15,0 0-4 0,1 1 0 0,2-1 0 0,0-1 0 0,2 1 0 16,0 0 0-16,1-1 0 0,2-1-4 0,0 1 4 0,0-2 0 0,2 0-4 0,0-1 4 16,0-1 0-16,2-1-4 0,0-2 0 0,-1-1 4 0,1-1-4 0,2-1 4 15,-2-3-4-15,0 1 4 0,1-4 0 0,-1-1 0 0,1-1 4 0,-3-1-4 0,2-1 0 16,-1-1 4-16,-1-2-4 0,0 0 4 0,-2-1-4 0,0-1 4 0,0-1 0 15,-2-1 0-15,-1 1 4 0,-1-1-4 0,0 0 0 0,-3-1 4 0,-1 0-4 16,-1 1 8-16,-2 0-12 0,-2 0 8 0,-1 0-8 0,-2 0-4 0,-1 1 0 16,-3 1 12-16,-1 0-12 0,-1 1 12 0,-3 1-12 0,-3 0 0 0,1 3 12 0,-4-1-12 15,-1 1 8-15,-1 2-8 0,-4 1 8 0,0 0-12 0,-1 1 12 0,-3 1 0 0,-1 1-4 16,-1 2 0-16,0-1-4 0,-3 2-4 0,0 0 8 0,0 1-8 15,-1 0 0-15,-1 1 4 0,1 1 0 0,0-1-4 0,1 1 8 0,0 1-4 0,0 0 0 16,3 0-4-16,-1 0-4 0,2 0 4 0,0 0 0 0,0 1-4 0,4-1-12 16,-1 0-8-16,2 0-8 0,2-1-16 0,1-1-20 0,2 0-16 0,0-1 4 0,3-1 8 15,1 0 8-15,1 0 8 0</inkml:trace>
  <inkml:trace contextRef="#ctx0" brushRef="#br0" timeOffset="165246.4513">8442 10322 7 0,'-3'-8'44'0,"0"2"-8"16,-1 0-4-16,1 0 0 0,1 0-8 0,-1 3 0 0,1-1-8 15,-2 1 4-15,3 1-8 0,-1-1 0 0,0 1 0 0,1 2 0 0,0 0-4 0,-1 0 0 16,2 1 0-16,-1 0 0 0,0 2 0 0,0-2 0 0,1 2-4 0,-1 0-4 15,1 0 4-15,1 1-4 0,1 1 4 0,0 1 0 0,1-1-8 0,0 2 4 0,1 1-4 16,0 0-4-16,0 0-20 0,0 0-40 0,0 2-4 0,1-1 4 16,-1 1 12-16</inkml:trace>
  <inkml:trace contextRef="#ctx0" brushRef="#br0" timeOffset="166679.5335">21324 11011 7 0,'-15'-6'36'0,"1"0"0"0,-1 1 0 16,2-2-4-16,-2 2-4 0,1-1 4 0,0 2-4 0,1-1 0 0,-1-1 4 15,3 2 0-15,-1-2 4 0,0 2 4 0,1-1-8 0,1 0 0 0,-1 0-4 0,2 1 0 16,1-1-4-16,0 0-8 0,2 2 12 0,2-2-12 0,1 2 8 0,1-1-12 16,1 2 4-16,2-1-4 0,1-1 4 0,0 3 0 0,3-1 0 0,1-1-8 0,2 1 8 15,0 0 0-15,3 1-4 0,2-1 4 0,1 2-8 0,3-1 4 16,1 1 0-16,2 0-4 0,2 1 0 0,0-1 0 0,2 2 0 0,2-2 4 0,2 2-4 15,0-1-4-15,1 1 0 0,2-1 8 0,1 1-8 0,0 0 4 0,0-1 4 16,1 1-4-16,0 0-4 0,0 0 0 0,0 1 4 0,-1-1-4 0,0 1 0 0,0 0 0 16,-2 0 4-16,0 0 0 0,-1 0-4 0,-1 1 0 0,-1-2-4 0,-2 1 4 15,-1 0-8-15,-2 0 8 0,-2-1 0 0,-1 1 0 0,-1-1 0 0,-3 0 0 16,-1 0 0-16,0-1 0 0,-3 1 0 0,-2-1 0 0,0 1 0 0,-1-1 0 15,-2 1 0-15,-1 0 4 0,-2-1-4 0,1 1 0 0,-3-1 0 0,0 0 0 0,-1 1 0 16,0-1-4-16,-2 1 0 0,1-1-4 0,-2 0 4 0,0 1-4 0,0-1-4 16,-1 0 0-16,0 0-16 0,-1 0-8 0,-1-1-20 0,0 1-20 0,0-1-24 0,0 0-28 15,-1 0 8-15,-1 2 12 0,0-2 12 0,0 0 8 0,-2 0 8 16,1 0 8-16,0 0 8 0</inkml:trace>
  <inkml:trace contextRef="#ctx0" brushRef="#br0" timeOffset="168135.6168">10288 13674 47 0,'-11'4'76'0,"-2"1"-8"0,3 0-8 0,-1 2-8 0,0-2-4 0,1 0-8 16,1 3-4-16,2-1-8 0,-1 1 0 0,3 0-8 0,1 0-4 0,2 0 0 0,1-1-4 16,2 0-4-16,0-1 8 0,2 0 0 0,1-1 0 0,1 1-4 0,2-2-8 15,-1-1-4-15,2-1 0 0,1 1 12 0,2-2-12 0,1 1 4 0,0-1 4 16,2-1-12-16,0-1 8 0,2 0-8 0,-1 0 8 0,2 0 0 0,0 0 0 15,1-1-8-15,1 1 8 0,-1-1-8 0,2 0 8 0,0-1 0 0,0 2 0 0,0-1-4 16,-1 2 8-16,1-2-8 0,0 2 8 0,-1 2-12 0,0-1 12 0,0 1-8 0,-2 1 0 16,0 1-4-16,0 2 8 0,-2 1 0 0,-1 2 0 0,0 1 0 0,-1 2 0 15,-3 1 8-15,0 2-8 0,-1 2 0 0,-3 2 8 0,-1 1-4 0,0 2 0 16,-2 1 0-16,-2 2 0 0,-1 1 12 0,-1 1-8 0,-2 1 4 0,-1 1-4 15,0 2 4-15,-2-1 0 0,0 2 0 0,-1-1 0 0,-1 2 0 0,-1 0 0 0,1 0 0 16,-1 0 0-16,-2 0 0 0,2-1 0 0,0 1-4 0,-2-2 0 0,1-1 0 16,1 0 0-16,-2-2 0 0,2-1-4 0,1-1 0 0,-1-2 0 0,1 0 0 0,1-2 0 15,0-2-4-15,2 0 0 0,-2-2 0 0,2-1 0 0,1-3 0 16,1 0 0-16,-1-3 0 0,2-1-4 0,-1-2 0 0,2-2 0 0,0-1-4 0,0-2 0 15,1-2-8-15,1-2-4 0,0-2-8 0,0-2-12 0,1 0-8 0,0-2-16 16,0-2-12-16,1-1-24 0,-2-2-24 0,3 0 4 0,-2-2 8 0,0 0 12 0,1-1 12 16,-1-1 8-16,2 0 12 0,-2 0 8 0</inkml:trace>
  <inkml:trace contextRef="#ctx0" brushRef="#br0" timeOffset="168307.6266">11204 14261 7 0,'10'-2'48'0,"-1"0"-16"0,-1-1-24 15,-2 0-20-15,0-1-32 0</inkml:trace>
  <inkml:trace contextRef="#ctx0" brushRef="#br0" timeOffset="168797.6545">10259 13609 27 0,'-5'-1'44'16,"-1"0"-8"-16,1-1 0 0,-1 1-4 0,1 0-4 0,0 0 0 0,1 0 0 0,1 0-4 16,-1 1 8-16,3-3-4 0,-1 2-4 0,1 0 4 0,1-2 4 0,0 1-4 15,3-1-4-15,-1 0 8 0,2-1-8 0,2 0 0 0,1 0 4 0,3-2-12 16,0 1 8-16,2-1-4 0,3-1-4 0,-1 0-4 0,5-1 4 0,0 1 0 15,0-1-4-15,3-1-4 0,1 0 0 0,0 0 0 0,2 1 0 0,1-1-4 0,0 0-8 16,2 1 4-16,0-1 8 0,0 1-4 0,0 2 0 0,-1-1-4 0,1 1 4 16,-1 0-4-16,0 2 4 0,0 0-8 0,-1 1 12 0,-1 1 0 0,-2 2-4 0,-1 0 0 15,-1 2-4-15,-2 1-4 0,0 2 8 0,-4 1 8 0,-2 1-8 0,-1 1 0 16,-2 2 0-16,-4 0 0 0,0 2 4 0,-3 1 0 0,-2 2-8 0,-2-1 4 15,-1 2 4-15,-3 1-8 0,-1 0 0 0,-4 0 4 0,0 1-4 0,-1-1 0 16,-2 2 0-16,-1-1 0 0,-2-1 4 0,0 0-4 0,-2 0 0 0,1-1 4 0,-3 0 0 16,1-2-4-16,0 1 4 0,-1-2-4 0,1-1 0 0,-2 0 0 0,1-3-4 15,2 0-8-15,-1-1-12 0,-1-2-16 0,2 0-20 0,0-2-44 0,2 0-12 16,-1-3 12-16,2 0 8 0,0-2 12 0,2 0 4 0,0-3 8 0,3-1 12 0</inkml:trace>
  <inkml:trace contextRef="#ctx0" brushRef="#br0" timeOffset="169951.7207">15821 13758 23 0,'5'-5'40'16,"0"2"-4"-16,1 1-4 0,2 2-4 0,0 3 0 0,0 0-4 0,1 3 0 15,2 0-4-15,0 3 0 0,2 1-4 0,-1 2 0 0,0 1-4 0,3 2 0 16,-1 0 0-16,2 2 0 0,-1 1 0 0,0 0 0 0,1 2-4 0,0-1 0 15,1 1 0-15,2 0 4 0,0 0 0 0,1 1-4 0,1 0 4 0,1 0 4 0,1 0 12 16,1 0-4-16,2-2 4 0,-1 1 0 0,1-3 12 0,1 0 0 0,-1-1-4 16,2-2 4-16,0-1 0 0,1-3 4 0,1-1 0 0,0-2 0 0,1-3 0 0,0-2 0 15,1-3-4-15,1-3-4 0,1-3-4 0,0-3 0 0,2-2-4 16,0-4 0-16,1-2 0 0,1-2-4 0,-1-4-4 0,4-2-8 0,-1-4 4 0,1-2 0 15,2-5-4-15,1-3-8 0,2-5 4 0,0-2 8 0,4-4-4 0,-1-1 0 16,3-5-4-16,2-2-8 0,0-3 4 0,0-4-4 0,2-2 4 0,1-4 0 0,0-1-4 16,0-2 4-16,0 0 0 0,0-1-4 0,0 0 0 0,-1-1 0 0,0 1-4 15,0 0 8-15,-1 2-8 0,-2-2 8 0,0 5-8 0,-2 0 4 0,-2 1 0 16,-1 3 8-16,-3 3-12 0,-1 4 8 0,-3 2 0 0,-2 4-12 0,-4 5 0 15,-2 2 8-15,-3 5 4 0,-3 1-4 0,-3 6-4 0,-4 4-4 0,-2 3 0 0,-3 6-8 16,-3 4 0-16,-1 4-4 0,-4 3-12 0,-1 5-4 0,-4 2-4 0,0 4-8 16,-3 4-20-16,-1 2-8 0,-3 3-12 0,1 1-28 0,-5 3-20 0,2 2 12 0,-2 2 16 15,0 2 8-15,-2 1 8 0,0 1 12 0,0 2 12 0,-2 1 4 0</inkml:trace>
  <inkml:trace contextRef="#ctx0" brushRef="#br0" timeOffset="170084.7283">18906 12757 63 0,'17'8'64'0,"-1"-1"-8"0,-2 1-12 0,-1-1-4 16,-2 0-4-16,1-1-8 0,-2 1-4 0,-2-2-20 0,0 1-36 0,-3-1-44 0,0 0 4 16,-2 0 4-16,-2-2 4 0</inkml:trace>
</inkml:ink>
</file>

<file path=ppt/ink/ink3.xml><?xml version="1.0" encoding="utf-8"?>
<inkml:ink xmlns:inkml="http://www.w3.org/2003/InkML">
  <inkml:definitions>
    <inkml:context xml:id="ctx0">
      <inkml:inkSource xml:id="inkSrc0">
        <inkml:traceFormat>
          <inkml:channel name="X" type="integer" max="32767" units="in"/>
          <inkml:channel name="Y" type="integer" max="32767" units="in"/>
          <inkml:channel name="F" type="integer" max="2047" units="in"/>
          <inkml:channel name="T" type="integer" max="2.14748E9" units="dev"/>
        </inkml:traceFormat>
        <inkml:channelProperties>
          <inkml:channelProperty channel="X" name="resolution" value="15999.51074" units="1/in"/>
          <inkml:channelProperty channel="Y" name="resolution" value="15999.51074" units="1/in"/>
          <inkml:channelProperty channel="F" name="resolution" value="999.51166" units="1/in"/>
          <inkml:channelProperty channel="T" name="resolution" value="1" units="1/dev"/>
        </inkml:channelProperties>
      </inkml:inkSource>
      <inkml:timestamp xml:id="ts0" timeString="2017-10-28T07:26:45.660"/>
    </inkml:context>
    <inkml:brush xml:id="br0">
      <inkml:brushProperty name="width" value="0.05292" units="cm"/>
      <inkml:brushProperty name="height" value="0.05292" units="cm"/>
      <inkml:brushProperty name="color" value="#FF0000"/>
    </inkml:brush>
  </inkml:definitions>
  <inkml:trace contextRef="#ctx0" brushRef="#br0">3757 11514 43 0,'-1'-4'36'16,"0"1"0"-16,1 0 0 0,-1 1-4 0,0-1-8 0,0 1 0 15,0-1 0-15,0 1-4 0,1 0 0 0,-1 0-4 0,1 1 0 0,-1-1-4 0,0 1 0 16,0 0 4-16,1-1 0 0,0 1 0 0,0 1 0 0,0-2-4 0,2 2 4 15,-1 0 4-15,1 0-4 0,1 0 4 0,1 0-4 0,0 0 0 0,0 1-8 0,2 0 0 16,0 0 0-16,-1 1-4 0,2 0 8 0,-1-1 4 0,1 0-4 0,0 1-8 16,-1 1 12-16,1-2-16 0,-1 0 12 0,3 3-8 0,-3-2-4 0,1 2 0 15,-1-1 0-15,1 1 8 0,-1-1 0 0,-1 2 0 0,0-1 0 0,0 2 0 16,-2 1 0-16,0 0 4 0,1-1 0 0,-3 3 0 0,1-1-4 0,-1 1-8 0,-2 1 4 15,0-1 4-15,-1 2-4 0,0 1-4 0,-1 0 8 0,-1-1-4 0,0 1 8 16,-1 1 4-16,1 0-8 0,-2 0 0 0,2-1 0 0,-3 0 0 0,1 1 4 0,0 0-4 16,0 0-4-16,0-1 4 0,-1 0 0 0,1-1 4 0,0 1-4 0,0-2 0 15,1 0-4-15,-1-1 4 0,2 1-4 0,-1-2-4 0,1-1 0 0,1 0 8 16,1 0-4-16,-1-1 4 0,2-1-4 0,1 0-4 0,0-1 4 0,1-1 0 0,2-1 0 15,-1 1 0-15,2-1-4 0,0 0 4 0,1-1 4 0,1 1-4 0,1-2-4 16,1 0 0-16,0 0 4 0,1 0-4 0,0 0 0 0,1-1 4 0,0 0 4 0,2 0-8 16,-1-1-4-16,1 1 8 0,1 0-4 0,-1-2 4 0,1 2-8 15,0-1 8-15,1 0-4 0,-2-1 0 0,2 0-4 0,-2 0 8 0,1 1-4 0,-1-1-4 16,0 0 0-16,-2 0 4 0,2-1-8 0,-2 1-4 0,-1 1-8 0,0-1-8 15,-2-1-4-15,1 2-12 0,-2-1-8 0,0-1-8 0,-1 2-4 0,-1 0-24 0,-1-2-16 16,-1 3 4-16,1-1 12 0,-3 1 8 0,0-1 12 0,0 0 8 0,-1 2 4 16</inkml:trace>
  <inkml:trace contextRef="#ctx0" brushRef="#br0" timeOffset="1179.0675">1814 11841 3 0,'-1'-3'36'0,"1"1"0"0,-1-1-4 16,1 0-4-16,0 1-4 0,0-1 0 0,0 0-4 0,0 1 0 0,0-1 0 15,0 0 0-15,0 1 0 0,0 0 4 0,0 0 0 0,0-1 4 0,0 1 0 16,0 0 4-16,0 0 4 0,0 1-4 0,0 0-12 0,-1 0 12 0,1 2-4 0,-1-1-4 15,1 1 4-15,0 1-4 0,0 0 4 0,1 1-4 0,-1 1 0 0,0 1-8 16,0 0 0-16,1 1 4 0,-1 1-4 0,0-1 0 0,-1 2 0 0,1 0-8 16,0 0 4-16,0 2-4 0,0 0-8 0,0 2 12 0,0-1 0 0,-1 1-8 15,1 0-4-15,-1 2 8 0,1-1-8 0,-1 1 0 0,0-1 0 0,1 2 0 0,0-1-4 16,0 0 4-16,0 1 0 0,0 0-4 0,-1 0 4 0,1-2-8 0,0 1 0 15,0-1-12-15,1 0 0 0,-1-1 0 0,0-1 0 0,0 1 0 0,1-2-8 0,0 0-8 16,1 0-8-16,-1-2-16 0,-1 0-24 0,1-2-16 0,0 0 8 0,1-2 8 16,-2 1 12-16,2-1 4 0,0-2 8 0</inkml:trace>
  <inkml:trace contextRef="#ctx0" brushRef="#br0" timeOffset="1627.0929">1682 12400 27 0,'-9'-2'28'0,"1"-2"-4"0,-1 2 0 0,0-3-4 0,-1 1 0 0,0-1 0 16,0-1-4-16,-2-1 0 0,2 1 0 0,0-2 0 0,-2 0-4 0,1 0-4 15,-1 0 4-15,2-2-4 0,-1 2 0 0,-1-1 0 0,2-2 0 0,0 1-4 0,0-2 4 16,1 2-4-16,0-3 4 0,1 1 0 0,-2-1-4 0,4-1 4 0,-2 0-4 15,3 0-4-15,-1-1 4 0,1-1 0 0,2-1-4 0,-1 0 0 0,3-1 4 0,0 0 0 16,1-2 0-16,1 0 0 0,0-1 0 0,3 0-4 0,0-1 0 0,1-1 0 16,3 0 0-16,-1 0 0 0,2-1 4 0,2 0-4 0,0-1 4 0,0 2-4 15,3-2 0-15,0 2 0 0,2 0 0 0,0 1 4 0,1-1-8 0,0 1 8 16,2 2-4-16,1 1 0 0,0 0 4 0,1 1 0 0,1 3 0 0,0 1 0 0,0-1 0 15,2 3 0-15,-1 1 4 0,0 4 0 0,2 2 0 0,-1 1 4 0,1 1-4 16,-1 5 4-16,-1 0 4 0,2 4 0 0,-1 1 4 0,0 2-4 0,-2 2 4 0,1 2 0 16,-1 1 0-16,-1 2-8 0,-1 1 4 0,-1 1 4 0,-1 2-4 0,-1 2 0 15,-1-2 4-15,-1 2-4 0,-1 2 4 0,-2 0-4 0,-1 0 0 0,-2 1 0 16,0 0 0-16,-3 1 0 0,-1-1 0 0,-1 1-4 0,-2 1 0 0,-2-3 4 15,-1 2-8-15,-1-3 0 0,-2 1 0 0,-1-1 4 0,-3-1-4 0,-1 0 0 0,-1-1 0 16,0-1 0-16,-4 0 0 0,1-1-4 0,-2-1 4 0,1 0 0 0,-4 0-4 16,1-2-8-16,-1-1 4 0,-1 1 0 0,-1-4 0 0,0 1-4 0,-1-1-4 15,0-2 4-15,-1-1 4 0,0-1 0 0,1-1-4 0,-2-1-4 0,2 0 0 0,0-4-4 16,0 1-4-16,0-2-12 0,3 0-4 0,-1-2-12 0,2 0-8 0,0-2-4 15,3 0-16-15,-1-2-16 0,3-1-12 0,0-1 8 0,3 1 4 0,1-1 12 0,1-3 8 16,2 1 8-16</inkml:trace>
  <inkml:trace contextRef="#ctx0" brushRef="#br0" timeOffset="2326.1331">3521 12144 19 0,'-5'0'28'0,"0"-2"-8"0,0 0 4 0,1-1-4 0,-2 0-4 0,0-1 0 16,1-1-8-16,0 0 8 0,0 0-4 0,0-1 0 0,0-1 4 0,-1-1 0 15,2 0 0-15,-1 0 0 0,1-1-4 0,0-1 4 0,1-1 0 0,-1-1-4 0,1 0 0 16,-1-2 4-16,2 1 0 0,1-4-4 0,0 1 4 0,1-2-4 0,1 0 0 15,0-3 0-15,2 0 0 0,2-1 0 0,0-1 0 0,2-2 0 0,0 0-4 0,3 0 4 16,0-2-4-16,1 0 0 0,2 0 0 0,1-1 0 0,3 1 0 0,-1 0 0 16,3 0-4-16,-1 2 0 0,4 0 0 0,-1-1 0 0,3 4-4 0,-1-1 0 15,3 1 0-15,0 3 0 0,1-1 4 0,1 4 0 0,0 0-4 0,0 1 0 16,1 3 4-16,-2 2-4 0,2 1 4 0,0 3-4 0,0 1 4 0,-1 3 4 0,0 2-8 15,-1 0 4-15,0 3 0 0,-2 2-4 0,0 0-4 0,-1 2 4 0,-1 3 0 16,-1 0 4-16,-1 1 0 0,-2 0 0 0,1 3 0 0,-3-1 4 0,0 3-8 0,-3-1 12 16,0 1 0-16,-2 0-8 0,-1 1 8 0,-1 2 0 0,-3-1-4 15,0 1-8-15,-2 0 8 0,-1 1-4 0,-1 0 12 0,-2 0-4 0,-1 2-4 0,-1-2 4 16,-4 2-4-16,1 0 4 0,-1 0 4 0,0 0-4 0,-3 1-4 0,-1-1 0 15,0 1 0-15,-1 0 8 0,-2-1-8 0,0 0-4 0,0 0 4 0,-2 0 0 0,-1-1-8 16,0 0 4-16,0-1 0 0,-2-1-4 0,1-1 4 0,-3-1 0 0,1 0 0 16,0-2 0-16,-1 0-4 0,0-1-4 0,0-2 4 0,-2-1-4 0,0 0 0 15,1-3 0-15,-3 0-4 0,3-2 4 0,-2-1-4 0,-1-2 0 0,0 1-8 16,2-4-8-16,-3 0 0 0,1-1-8 0,-1-2-4 0,1 0-4 0,0-2-4 0,-1 0-8 15,0 0-8-15,1-2-12 0,-1-1-20 0,1-1 4 0,0 0 12 0,2-1 8 16,-1 0 8-16</inkml:trace>
  <inkml:trace contextRef="#ctx0" brushRef="#br0" timeOffset="3122.1785">1853 11279 7 0,'0'0'44'0,"-1"0"-8"0,-1 0 4 0,1 1 4 0,0-1-8 16,-1 1 4-16,0-1 4 0,0 0-8 0,0 0 8 0,-1 0 0 0,1 0-8 15,-2 0 4-15,0 0-8 0,1 0 0 0,0 0 0 0,0 0-8 0,0 0 4 16,0 0 0-16,0 0-4 0,1 0-8 0,-1-1 0 0,1 0 0 0,-1 1-4 0,0-3 4 15,1 3-8-15,1-3 4 0,1 1 0 0,0-2 0 0,2 1 0 0,0-3-4 16,2 1 0-16,0-2-4 0,1 0 4 0,1-2-4 0,1 1 4 0,2-2-4 0,-1-1 0 16,3 0 0-16,1-3 0 0,1 2 0 0,0-4 0 0,3 1 0 15,-1-1-4-15,3-1 0 0,1 0 8 0,0-1-12 0,2-1 12 0,0-1-8 0,0 0 4 16,2-1-4-16,0 0 0 0,0 0 0 0,0-1 4 0,1 1-8 0,-1 0 4 15,0 0 0-15,-1 2 0 0,1-1 8 0,-1 1-12 0,-2 0 8 0,0 1 0 0,0 2 0 16,-2-1 0-16,1 2 0 0,-3 0-8 0,0 1 4 0,-1 1 0 0,-1 1 0 16,-1 1 0-16,-1 2 4 0,-1-1-4 0,-2 1 4 0,0 1 0 0,-3 1 0 15,1 1-4-15,-2 1 0 0,-1 1-4 0,1-1 0 0,-2 2 4 0,0-1-4 16,-2 3 0-16,1-2 8 0,-1 2-8 0,0-1-4 0,-1 2-4 0,0-1-8 0,1 0-4 15,-2 1 0-15,1-1-16 0,-1 1-8 0,0 1-4 0,1-1-8 0,0 1-16 16,0 0-24-16,0-1 4 0,1 1 8 0,0 1 8 0,0 0 8 0,0 0 8 0,1 0 8 16</inkml:trace>
  <inkml:trace contextRef="#ctx0" brushRef="#br0" timeOffset="3578.2047">3207 10649 11 0,'-7'-5'20'0,"2"0"4"0,0-1-4 0,0 2 0 0,1-1-8 15,1 0 4-15,0 3-4 0,2-2 4 0,1 1-8 0,1 0 0 0,2 2 4 16,1 0 0-16,2 0-4 0,0 2 0 0,2 1 0 0,1-1-4 0,2 4 4 0,2-1 0 15,0 1 0-15,1 1 0 0,1 1 0 0,0 1 0 0,3 0 0 0,-1 2 0 16,2 0-4-16,-1 1 4 0,2 0-4 0,0 3 4 0,0-1 0 0,2 1 0 0,-1 1 0 16,0 0 0-16,1 1 0 0,0 1 0 0,0 0 0 0,-2 0 0 15,2 2 0-15,-2-1 0 0,-1 0 0 0,0 1 0 0,-2-1 4 0,1 0 0 0,-3 1 0 16,1-3 0-16,-1 2 0 0,-1-1 0 0,-2-2 4 0,1 1-4 0,-2-2 4 15,0 1-4-15,-1-2 0 0,-1 0 4 0,1-2-12 0,-1 0 8 0,-2 0-4 0,0 0 8 16,-2-3-8-16,1 0 4 0,1-1-4 0,-3 0 8 0,0 0-4 0,0-2 4 16,-1 1 0-16,0-2-4 0,-1 0-4 0,1-1 4 0,-2 0 0 0,0 1-8 15,2-3 0-15,-2 1-4 0,-1 0 8 0,0 0-8 0,0-2 0 0,0 0 0 0,0 1 0 16,-1-2-8-16,-2 1-4 0,2-2 0 0,-1 0-12 0,0 0-16 0,-1-1-4 15,1 1-8-15,-2-2-24 0,0 1-20 0,0 0 4 0,0-1 8 0,-2 0 12 16,1 1 8-16,-1-1 4 0</inkml:trace>
  <inkml:trace contextRef="#ctx0" brushRef="#br0" timeOffset="4891.2796">1755 10412 19 0,'-1'-2'36'0,"0"0"-4"0,0 0 0 16,0 0 0-16,1 1-8 0,0-1 0 0,0 1 0 0,-1-1-8 0,1 1 0 15,-1 0 0-15,1-1-4 0,-1 1 0 0,1 0 0 0,0-1 0 0,0 2 0 16,0-1-4-16,0 1 0 0,1 0 0 0,0-1-4 0,0 1 0 0,0-1 0 0,1 1 0 15,-1 0 4-15,1-1-4 0,0 1 0 0,0 0 0 0,1 0 0 0,-1 1 0 16,2-1 0-16,-1 1 0 0,-1-1 0 0,1 1 4 0,0-1 0 0,-1 1 0 0,1 1 0 16,-1-1-4-16,1 0 4 0,-1 1 0 0,1-1 4 0,0 2-8 0,0-2 4 15,-1 2 0-15,-1-1-4 0,1 2 4 0,-1-2-8 0,0 1 8 0,0 1 0 16,0 0-4-16,-1 1 0 0,0-2 0 0,0 2 0 0,-1-1 0 0,1 2 0 15,-1-2 4-15,0 0-8 0,0 0 0 0,0 1 4 0,-1 0 0 0,0 0-4 0,2 0 8 16,-2-2-8-16,-1 2 4 0,2-2 0 0,-1 1 0 0,1 0 0 0,0-1-4 0,0 1 0 16,0-1 0-16,0-2 0 0,0 2 0 0,1-1 4 0,0 1-8 15,0-1 8-15,0-1-8 0,0 0 4 0,1 0 4 0,0-1 0 0,1 2 0 0,1-2 0 16,-1 0-4-16,3 1 0 0,-2-1 8 0,1 0-8 0,1 0 4 0,-1 1-4 15,2-1 0-15,0 1-4 0,-1-1 4 0,2 2 4 0,0-2 0 0,-1 1 0 0,2 0-4 16,-2 0-4-16,2 1 0 0,-1 0 4 0,1-1 0 0,0 0 0 0,-1 2 4 16,0-2 0-16,2 1-4 0,-3 1 8 0,1 0-4 0,-1-1 4 0,1 2 0 15,0-1-8-15,-2 1 4 0,0 1 4 0,-1-2 4 0,-1 2 0 0,-1-1-8 16,1 2 0-16,-1-1 0 0,-2 1 0 0,1-1-4 0,-2 1 12 0,0 0 4 0,-1 0-8 15,0 0 4-15,-2 0 0 0,0 2-12 0,0-1 12 0,-1 0-4 0,-2-2 0 16,2 3-4-16,-2-1-4 0,0 0 8 0,0 0 0 0,-1-1 0 0,0 0-4 0,0 0 0 16,-1-1 0-16,0 0-8 0,1 0 8 0,-1 0-4 0,0-1 0 15,1-1-4-15,0 1 0 0,0-1 0 0,0-1 0 0,0 0-4 0,2 1-8 0,-1-2-24 16,0 0-8-16,2 0-20 0,1-1-20 0,0-2-20 0,1 1 8 0,1-1 12 15,-1 0 12-15,2 0 8 0,0-1 4 0</inkml:trace>
  <inkml:trace contextRef="#ctx0" brushRef="#br0" timeOffset="6988.3997">20049 4031 11 0,'1'-2'20'0,"1"1"-4"0,-1-1 4 15,0 0-8-15,-1 2 0 0,1-2 0 0,-1 1 0 0,1 1 4 0,0-2-4 0,-1 1-4 16,0 1 0-16,0 0-8 0,1-1 4 0,-1 1 4 0,0 0-4 0,1-1 0 15,-1 1-4-15,1 0 0 0,1 0 0 0,-1 0 4 0,0 0 0 0,1 0 0 0,0 0 0 16,-1 0-4-16,1 0-4 0,-1 0 4 0,2 0 4 0,-1 0-8 16,0-2 4-16,0 2 0 0,2 0 0 0,-2 0 0 0,1 0 0 0,1 0-4 0,-1-1 0 15,1 1 0-15,-2 0 4 0,1 0-4 0,1 0 4 0,-2-1-4 0,1 1 0 16,0 0-4-16,-1 0-8 0,2 0 0 0,-2-1-12 0,0 0-8 0,-1 0-8 0</inkml:trace>
  <inkml:trace contextRef="#ctx0" brushRef="#br0" timeOffset="7320.4187">20150 3991 3 0,'0'0'40'0,"1"-1"0"0,-1 0-4 15,0 0-4-15,0 1 0 0,-1-1-4 0,1 0 4 0,0 0-4 0,-1 0 0 0,1 1-8 16,-1 0 4-16,1 0-4 0,-1-2 4 0,1 2-4 0,0 0-4 16,0 0 0-16,-1 0-8 0,1 0 0 0,0 0 0 0,-1 0 0 0,1 0 0 0,0 0 0 15,1 0 0-15,0 2 0 0,-1-1-4 0,1 1 4 0,1 0 0 0,-1 1 0 16,3 1-4-16,-2-1 4 0,1 2 0 0,1 0 0 0,-1 2 0 0,2-2-4 0,-1 3 8 15,2-1-4-15,1 0 4 0,-2 2-12 0,1-1 8 0,1 0 8 0,-1 1-8 16,2 1 0-16,-1-1-4 0,1 1 0 0,-1 0 4 0,2 1 4 0,-1-1-8 16,0-1 8-16,1 3 4 0,-1-2-4 0,0 1 0 0,0-2 0 0,0 1 0 0,-1-1 4 15,1 0 0-15,-2-1 4 0,1 0 0 0,0-1-4 0,-1 0-4 0,0-1 0 16,-1-1 4-16,-1 1-4 0,1-2-4 0,-1 1 4 0,-1-1 0 0,1-1 0 15,-2 0 0-15,1-1 0 0,-1 0 0 0,0 1-4 0,-2-1 0 0,1-1 0 0,1 0 0 16,-1-1 0-16,-1 1 0 0,1 0 4 0,-1-1 0 0,0 0 0 0,0 1-4 16,0-1-4-16,0 0 4 0,0 0-4 0,0-1 4 0,0 1 0 0,0-1-4 15,0 0-4-15,-1 1 4 0,0 0-4 0,1-1 0 0,-1 0 0 0,0 1-4 0,0-2-4 16,1 0-16-16,-1 1-12 0,0-1-20 0,0 0-12 0,0 0-8 0,1-1-24 15,0 0-20-15,0 0 0 0,-1 0 12 0,1 1 16 0,0-2 12 0,0 1 8 0,0 0 8 16,1 0 8-16</inkml:trace>
  <inkml:trace contextRef="#ctx0" brushRef="#br0" timeOffset="7924.4532">20587 4019 11 0,'-5'-3'32'0,"2"-1"0"16,1 1 0-16,-1 0-4 0,0-1 0 0,1 1-4 0,-1 0 0 0,1-1-4 0,-1 2 0 15,2-1 4-15,-1 1 0 0,0-1 0 0,1 1-4 0,-2 0 0 0,2-1 0 16,-1 2 0-16,2 0-4 0,-1-1-4 0,0 0 0 0,1 1 0 0,-1 0 0 16,1 1-4-16,-1-1 0 0,1-1-4 0,1 2 0 0,-1 0 0 0,2 0 0 15,-1 2 0-15,1-1 0 0,2 1 4 0,-1-1-4 0,1 2 4 0,0-1-4 0,0 1 0 16,2 1 4-16,0 0 0 0,1-1-4 0,1 3 4 0,-1-2-4 0,1 2-4 15,1 0 4-15,0 0 0 0,1 1 4 0,1-1-4 0,0 2-4 0,-1-2 8 0,2 2 0 16,-1 1-8-16,3-2 4 0,-3 0 4 0,2 2-8 0,1-1 4 16,-2 0-4-16,1 1 8 0,-1-1 0 0,0 1 0 0,1-1 0 0,-2-1 0 0,1 1 0 15,-1-1 0-15,-1 0-8 0,1 0 0 0,-2-1 0 0,-1 0 0 0,0 0 0 16,0-1 8-16,0 1-8 0,-2 0 0 0,0-2-8 0,1 0 8 0,-2 0 8 0,0-1-4 15,-1 1-4-15,0-1-4 0,-1 0 8 0,0-1 0 0,-1 0-8 0,0 0 8 16,1-1 0-16,-1 2 0 0,-1-1-8 0,0-2 4 0,0 1 4 0,-1 0 0 16,1 0-4-16,0-1 4 0,-1 0 0 0,0 1-4 0,0-1 0 0,0-1 0 0,-1 1-8 15,1 0 8-15,-1 0 0 0,0-1-16 0,0 0-20 0,0 0-12 0,-1-1-36 16,-1-1-20-16,0 1 4 0,1-1 12 0,-2 1 16 0,1 0 8 0,-1-2 4 15</inkml:trace>
  <inkml:trace contextRef="#ctx0" brushRef="#br0" timeOffset="12888.7372">4751 10124 15 0,'1'-3'48'16,"0"0"-4"-16,2-1-8 0,-2 2-4 0,2 0-4 0,-1 0-4 0,0 0 0 15,0 1-4-15,0-1-4 0,1 1 0 0,-1 0 0 0,0 1-4 0,2 0 0 0,-2 0 0 16,1 0-4-16,1 1 0 0,-1 1 0 0,0-1 0 0,1 0 0 0,-1 1 0 16,0-2 0-16,1 3 0 0,0-1-4 0,2 2 0 0,-2-2 0 0,1 1 0 0,0 0 0 15,-1 0 4-15,1 0-4 0,0 1 4 0,0-1-4 0,0 1 0 16,0 0 0-16,-1-1 0 0,0 0 0 0,0 1 4 0,1 0 0 0,-2-2-4 0,0 2 4 15,0 1 0-15,-1-1 0 0,1 0 0 0,-2 1-4 0,0 0 4 0,0 0-4 16,-1 0 0-16,0 1 0 0,-1-1 0 0,0 2 0 0,0-1 0 0,-1 0 0 16,0 0 4-16,0 1-8 0,-1-1 0 0,0 1 4 0,-1-1-4 0,0 1 8 0,1-1 0 15,-2 0-4-15,2 1-4 0,-1-1 0 0,1-1 0 0,-1 2 0 0,-1-2 8 16,1 0-8-16,0 0 4 0,1 0-4 0,0-1 4 0,-1 1-4 0,2-2 4 15,-1 0 0-15,0 1 0 0,2-2 0 0,-2-1 0 0,1 2-4 0,1-2 4 0,1 1-4 16,0 0 0-16,0-2 0 0,2 1-4 0,1 0 4 0,-1-1-4 0,1 1 0 16,1-1 12-16,1 2-4 0,0-1-4 0,0-1 8 0,4 1 0 0,-2 0 0 0,1 0-4 15,1 0 0-15,1 1 0 0,0-2-4 0,1 2 0 0,0 0 0 0,0 0 0 16,0-1 4-16,1 1-4 0,0 0 0 0,0-1 0 0,0 1 4 0,0 1 0 15,0-1-4-15,-1 1-8 0,1-2 12 0,-2 2 4 0,1 0-4 0,0 0-8 0,-3-1 12 16,0 1-4-16,0 0 4 0,-2 1 4 0,-1 0-8 0,-1-1 0 0,-1 2 0 16,-2 0 0-16,-1-1 4 0,-1 1 0 0,-2 1-8 0,-1-1 12 0,0 1-4 0,-3 0-8 15,0-1 0-15,0 0 0 0,-2 1 0 0,0 0 0 0,-1 1 0 16,1-2 0-16,-2 1 0 0,0-1 0 0,0 1 4 0,0-1-4 0,0 0-8 0,0 0 8 15,-1-1-4-15,1 1 4 0,-1-2-8 0,1 0 4 0,1-1-20 0,0 1-4 16,0-3-4-16,1 0-8 0,1 0-4 0,-1 0-4 0,2-3-12 0,0 1-24 0,2-1-4 16,-2 0 8-16,3 0 4 0,0-1 16 0,0 0 4 0</inkml:trace>
  <inkml:trace contextRef="#ctx0" brushRef="#br0" timeOffset="13374.765">4684 10666 31 0,'-10'-5'28'0,"0"0"-4"0,-1-1 0 15,1-1 0-15,-1 0-4 0,0-1 4 0,2-1 0 0,-2 1-4 0,0-2 0 16,1 1 4-16,-1-2 0 0,2 0 0 0,0-1 0 0,0 1-4 0,0-1 0 0,2-2-4 16,0 0 0-16,1-1-8 0,0-1 4 0,1 0 0 0,1-1 0 0,1-1-4 15,1 1 0-15,1-2 0 0,1-1 0 0,2 1 0 0,0-2-4 0,2 0 4 16,2 0 0-16,2-1-4 0,1 1 0 0,2-1 0 0,2 0 0 0,1 0 4 15,3 0-4-15,1 1 0 0,2 0-4 0,4 1 0 0,-1 1 8 0,3 1-4 0,2 1-4 16,1 2 4-16,0 0-4 0,3 1 0 0,-1 3 0 0,2 0 4 0,0 3-4 16,0 0 4-16,1 3 4 0,0 1-8 0,-1 0 4 0,1 3-4 0,-1 1 4 0,0 3 0 15,0 1 4-15,-2 1-4 0,1 2 4 0,-3 1 0 0,1 2-8 16,-2-1-4-16,-2 4 8 0,0 0 8 0,-3 2-8 0,-1 0 8 0,-2 0 0 0,-3 2-12 15,0-1 8-15,-3 1 0 0,-2 2 8 0,-2-1-8 0,-1 0 4 0,-1 1 0 16,-3 1 4-16,-1-1-4 0,-1 0 4 0,-2 1-4 0,-1 0 0 0,-2 0 8 0,-1 0-8 16,-1 0 0-16,-3 0 0 0,0 0 4 0,-1 0 0 0,-2 0-8 0,-1 0 4 15,-2-1 0-15,-1 1-4 0,0 0-4 0,-3-1 0 0,1 1 0 0,-3-3-4 16,0 1 0-16,-1 0 8 0,-2-2 0 0,1-1 0 0,-1-1-4 0,-2 0-8 15,1-2 4-15,0-1 4 0,-2 0-4 0,0-2 4 0,1-2-8 0,-1 0 0 0,1-3 4 16,-1-1-4-16,0-1 0 0,0-1 4 0,1-1-4 0,1-2-8 0,-1-1 4 16,1 0-12-16,0-2-12 0,2-1-4 0,0-1-8 0,0-1-4 0,3 0-8 0,-1-2-16 15,2 0-36-15,0 1 8 0,0-1 8 0,2-1 8 0,0 0 16 0,2 1 0 16,1-1 8-16</inkml:trace>
  <inkml:trace contextRef="#ctx0" brushRef="#br0" timeOffset="14523.8307">4665 9220 31 0,'-2'-6'36'0,"-2"0"0"0,2-1-4 0,0 0 0 15,0 2-4-15,2-2 0 0,-1 1-4 0,1 0 0 0,0 0-4 0,0 2 0 16,1-2-4-16,-1 0 4 0,1 2-4 0,1-1-4 0,0 1 0 0,-1 1 4 0,3 1 0 16,-1 0 0-16,0 1 0 0,1 2 0 0,0 1 0 0,1 0 0 0,-1 2 0 15,1 2-4-15,2-1 12 0,-1 3-12 0,0 1 12 0,1 1-8 0,-1 1-4 16,3 1 0-16,-2 1 12 0,1 1-12 0,1 1 12 0,-1 1-16 0,-1 1 8 0,2 0 0 15,1 1 0-15,-1 0 4 0,-1 1-8 0,2 0-4 0,-1 0 4 0,0 0 0 16,0 1 0-16,1-1-4 0,-1 1 4 0,0-2-8 0,0-1 4 0,-1 1 0 16,0 0 4-16,1-2-8 0,-1-1 4 0,-1 1-4 0,1-4 4 0,-1 2 0 0,1-2 0 15,-3 0-4-15,2-3 4 0,-1 1-8 0,-1-2 8 0,1-1-4 0,-2 0 0 16,1-1 0-16,-1-2 4 0,0 1-8 0,-1-2 4 0,0 2-4 0,0-3-4 15,-2 1 4-15,2-1 0 0,-1 0 0 0,-2-2-4 0,1 1-4 0,0-1-8 0,-1 0-12 16,0-1-8-16,-1-1-16 0,0 0-8 0,0-1-20 0,-1-1-20 0,-1 1-8 16,1-1 12-16,-1 0 8 0,0-1 12 0,-1 0 0 0,1-2 16 0,-1 2 4 0</inkml:trace>
  <inkml:trace contextRef="#ctx0" brushRef="#br0" timeOffset="17377.994">2904 10484 23 0,'-5'0'24'0,"0"1"-4"0,-1-1 4 15,2 0-4-15,-2 0-4 0,0 0 4 0,0 0-4 0,0-1-4 0,1 0 0 16,-1 0-4-16,0 1 4 0,0-1 4 0,1 1-4 0,0-1 0 0,-1 0 0 16,0 1 0-16,0-1-4 0,1-1 4 0,-1 1-4 0,0 0 4 0,0 0-4 0,-1-1 4 15,1 0-4-15,0 1 4 0,-1 0 0 0,0 0 0 0,0-1 4 0,0 0-4 16,0 1 4-16,0 0 0 0,-2-1-4 0,2 1 4 0,0 0-4 0,0 0 4 15,-1 0-8-15,-1 0 4 0,2-1-4 0,0 1 4 0,-2 0 0 0,2-1-8 0,-1 1 8 16,0 1 0-16,0-2-4 0,1 0-4 0,-1 0 4 0,0 2-8 0,0-2 4 16,0 1-4-16,1-1 4 0,-1 0 4 0,0 0-8 0,1 1 4 0,-1-1 4 0,1-1-8 15,-1 1 0-15,2 0-4 0,-1-1 8 0,1 0-4 0,0 0 8 0,-1 1-8 16,2-3 4-16,-1 1-8 0,0 1 8 0,1-1 0 0,-1 0 0 0,1 0-8 15,1-2 8-15,-1 1 0 0,2-1-4 0,-1 0-4 0,1 0 4 0,-1 0 0 0,1-2 0 16,1 0 0-16,1 1 0 0,-1-2 0 0,1 0 0 0,0-1 4 0,1 0 0 16,1 0 0-16,0-2-4 0,0 1-4 0,1-2 8 0,0 0-4 0,0 1-4 0,2-2 0 15,-1-1 8-15,0 3-4 0,2-4 0 0,-1 1-4 0,1 0 8 16,-1 0-8-16,2-1 0 0,0 1 0 0,0-1 0 0,0 1 4 0,0-1 0 0,2 1 0 15,-1-1-4-15,0 2 4 0,1-1 0 0,-1 1-4 0,2 0 4 0,-1 0-4 16,0 2 8-16,1-1-8 0,0 1 8 0,0-1-8 0,1 1 8 0,-1 1-4 0,1 1 4 16,1-1-4-16,-1 1 0 0,0 1-4 0,2 0 4 0,-1 1 4 0,0-1-8 15,2 1 0-15,-2 1 8 0,0 0 0 0,3 0-8 0,-2 0 4 0,2 1 4 16,-2 1-8-16,3-1 8 0,-2 1-8 0,1 0 4 0,1 1-4 0,-2-1 8 15,2 1-8-15,0 1 4 0,0 0 0 0,0 0 8 0,1 1-4 0,-1-1-4 0,2 2 0 16,-2 0 0-16,2 0 4 0,-2 1-4 0,2 0 0 0,-1 0 4 0,1 1-4 16,0 0 0-16,-1 0 0 0,0 2 0 0,0-1 4 0,1 1 0 0,-1 0-4 0,0 2-4 15,-1-1 4-15,2 0-8 0,-2 0 4 0,0 2 8 0,0-1-4 0,0 1 0 16,0 1-4-16,-1-2 0 0,-1 3 12 0,1-2-8 0,-1 2 0 0,-1-1 0 15,1 2 0-15,-2-1 4 0,-1 1 0 0,1 0-12 0,-2 1 8 0,0 0 4 0,0 1-4 16,-1 0 4-16,0 0 4 0,-2 0-8 0,1 2 4 0,-1-1-4 0,-1 0 0 16,-1 1 0-16,0 0 8 0,0 0-12 0,-2 1 12 0,3-1-8 0,-4 1 0 0,1 0 0 15,0 0 4-15,-2 1-12 0,1-1 16 0,-1 1-8 0,0-1 0 16,-1 1-4-16,1 0 12 0,-2-1-16 0,0 1 16 0,1-1 0 0,-3 0 0 0,1 0-4 15,0 0 4-15,-1 0-8 0,0 0-4 0,0-2 4 0,0 2 0 0,-1-1 0 16,-1-1-4-16,1 1 0 0,-1-1 8 0,-1 1 0 0,1-2-4 0,-2 1 4 0,1-1 0 16,-1 1-4-16,0-1 4 0,-2 0-8 0,1-1 12 0,0 1-4 0,-2 0 0 15,1-2 0-15,-1 1 0 0,-1-1 4 0,0 1-12 0,1-1 8 0,-3 0 4 16,1-1-8-16,0 1-4 0,0 0 8 0,-1-1 0 0,0-1 0 0,0 1 0 0,0-1 0 15,1-1 8-15,-2 0-12 0,2 0 4 0,-2-1 0 0,1 0 4 0,0 0-4 16,0-2-4-16,0 0 4 0,0 0-4 0,0 0 0 0,1-1 0 0,-1-2 0 0,0 0 4 16,2 0-8-16,-2 0 4 0,2-1 0 0,-2 0 0 0,2-2 0 0,1 0 4 15,-2 0-8-15,2 0 0 0,0-1 4 0,-1-1-4 0,3 1 4 0,-1-2 0 16,-1 1-16-16,2-1-12 0,0 0-12 0,0 0-8 0,0-1-12 0,2 1-32 15,0-1-8-15,-1-1 4 0,2 1 16 0,0-1 8 0,1 0 4 0,0 0 8 16</inkml:trace>
  <inkml:trace contextRef="#ctx0" brushRef="#br0" timeOffset="18096.035">3107 9685 15 0,'-2'1'32'0,"1"-1"-4"16,-1 0-4-16,0 0 0 0,1 0-4 0,0 0 4 0,-1 0-4 0,1-1-4 15,1 1 4-15,-1 0-4 0,0 0 0 0,1 0 0 0,-1-1 0 0,1 1 0 0,0-1-4 16,0 0 0-16,1 0 0 0,0-1-4 0,-1 1 0 0,1-1 4 0,0 0-4 16,1 0 0-16,-1-1 0 0,1-1-4 0,1 1 4 0,-1-1-4 0,0 1 4 0,2-2 0 15,0-1-4-15,0 0 0 0,2 0 0 0,-1-1 4 0,1 0-4 16,-1-1 0-16,2-2 0 0,1 0 0 0,0 1-4 0,0-3 4 0,1 0 0 0,2 0 0 15,-2 0 0-15,2-2-4 0,2 1 0 0,-3-3 4 0,3 2-4 0,-1-1 4 16,0 0 0-16,2 0-4 0,-1-1 4 0,0 1-4 0,0 0 4 0,0-2-4 0,0 2 0 16,0-1 0-16,0 1 0 0,-2 0 0 0,3 0 0 0,-3 1 4 0,0-1-4 15,1 1 4-15,-2 1-4 0,0-1 4 0,0 3 0 0,-1 0-4 0,-1 0 0 16,1 1 4-16,-2 1-4 0,-1 1 0 0,1 1 0 0,-1-1 0 0,0 1 0 15,-2 2 0-15,0 0 0 0,0 0 0 0,-1 1 0 0,0 1 0 0,-1 0 4 0,1-1-4 16,-2 3 0-16,2-2 0 0,-1 2-4 0,-1-1 4 0,0 1 0 0,0 1 0 16,0-2 0-16,-1 2 0 0,0 0 0 0,0 0 0 0,0-1 0 0,1 1 0 0,-1 0 0 15,0 0 0-15,0 0 4 0,0 0-4 0,0 1 0 0,0-1 0 16,0 0 0-16,0 0 0 0,0 0 0 0,0 0 0 0,-1 0 0 0,1 0 0 0,0 0 0 15,-1 0 0-15,1 0-4 0,-1 0 0 0,0 0-4 0,1 2-8 0,-1-1-16 16,1 0-24-16,-2-1-28 0,2 1 4 0,0 0 8 0,-1 0 8 0,1-1 8 0</inkml:trace>
  <inkml:trace contextRef="#ctx0" brushRef="#br0" timeOffset="21841.2493">3969 9170 19 0,'-6'-1'28'16,"1"0"0"-16,-1 0-4 0,1 1 0 0,0 0-4 0,1-1 0 0,-1 1-4 16,1 0 0-16,-1 0-4 0,-1-1 0 0,2 1 0 0,-1 0 0 0,1-1 0 0,-1 1-4 15,0 0 0-15,-2 0 0 0,2 0 0 0,-1 0 0 0,1 0 0 0,0 0 0 16,-2 0 0-16,0 0-4 0,2 0 8 0,-1 0-4 0,-1 0 4 0,1 0-4 15,-1 0 4-15,1 0-4 0,0 0 0 0,-1 0 0 0,0-1 0 0,1 1 0 0,-1-1 0 16,1 1 0-16,-1-1 0 0,1 0 0 0,-1 1 0 0,0 0-4 0,2-2 4 16,-3 1 0-16,2 0 0 0,0 0-4 0,0-1 0 0,0-1 0 0,-1 2 0 0,2-1 0 15,-1-1 4-15,0 1 0 0,2 0-4 0,-1-1 0 0,-1-1 0 0,1 1 0 16,0-1 4-16,-1 0-4 0,2 0 4 0,-1-1 0 0,-1 0-4 0,1 0 4 15,1 0-8-15,-1 0 0 0,1 0 0 0,0-2 0 0,0 1 0 0,-1-1 0 16,1 0 4-16,1 1 0 0,-2 0-4 0,2-1 8 0,-1-1 0 0,1 1-8 0,-1-1 4 16,0 2-8-16,1-2 8 0,0 0-4 0,-1 1 0 0,1-1 4 0,1 0-4 15,-1 0 0-15,1 0 0 0,-1 0 0 0,1 1 0 0,0-2 4 0,1 1-4 0,-2 1 4 16,1-2-4-16,1 2 4 0,1-1-8 0,-1 0 4 0,1-1 4 15,0 1-4-15,0 0-4 0,1-1 4 0,-1 1-4 0,1-1 8 0,1-1-4 0,1 2 4 16,-1-2 0-16,0 1-4 0,1-1 4 0,-1 1 0 0,2-1-4 0,-1 0 0 16,0 1 4-16,0 0-8 0,2-2 4 0,0 2-4 0,-1 0-4 0,0-1 8 0,1 0-4 15,0 0 4-15,0 1 4 0,0-1-4 0,2 0-4 0,-1 0 4 0,0-1 0 16,1 0 0-16,0 2-4 0,0-1 4 0,1-1-4 0,0 0 4 0,1 1 0 15,-1-1-4-15,1 0 8 0,1 1-4 0,1-2 4 0,-1 1-12 0,2-1 8 16,-1 1 0-16,2-1 0 0,0 0 4 0,0-1-4 0,2 1 4 0,0 0 0 0,1-1-4 16,0 0-4-16,1 1 0 0,0 0 4 0,0-1 0 0,0 1 0 0,1 1 0 15,1 0 0-15,-1 0 4 0,0 0-4 0,-1 1 0 0,2 0-4 0,-2 1 4 0,2 1 0 16,0 1-4-16,-3-2 8 0,2 3-8 0,-1-1 4 0,1 2 0 0,-2 1 0 15,1 0 0-15,1 0 0 0,-3 1 0 0,2 2 0 0,-1 0 0 0,-1 1 0 16,0 0 8-16,0 0-8 0,0 2 0 0,0 0 0 0,-2 1 0 0,1 0 0 16,0 1 0-16,-1 0 0 0,2 0 0 0,-2 1-4 0,0 0 4 0,0 0 4 0,1 0-4 15,0 0 0-15,-2 2 4 0,2-1-4 0,-1 1 4 0,0-2-4 0,0 2 0 16,0 0 0-16,-1 0 0 0,0 0 0 0,1 0 0 0,-2 1 0 0,0-1 0 15,1 0 0-15,-2 2 4 0,1-2-8 0,-1 0 4 0,0 1 4 0,-1 1-4 0,0-2-4 16,0 1 4-16,-1 0 0 0,1 0 4 0,-2 0 0 0,0 1-8 0,1-1 4 16,-1 0 4-16,0 1-4 0,-1 0-4 0,0 0 8 0,0 1-4 0,1-1 4 0,-2 0-4 15,-1 0 4-15,1 1-4 0,0 0 0 0,0-1 4 0,0 1-4 0,-1 0 4 16,0 0 0-16,0-1-12 0,-1 1 16 0,0 0-8 0,1 0 4 0,-1 0 0 15,-1-1-12-15,2 1 12 0,-2 1-4 0,1-2-8 0,-2 0 16 0,1 0-4 16,0 0-12-16,-2 1 8 0,2-1 0 0,-2 0 8 0,1 0-12 0,-1 0 8 0,-1-1 4 16,0 2-8-16,0-2-4 0,1 0 4 0,-2 1 8 0,-1 0 0 0,2-1-16 15,-2 1 4-15,-1-1 0 0,1-1 0 0,0 2 0 0,-1-1 0 0,0 0 4 0,0 1 4 16,0-1 0-16,-1 1-8 0,-1-1 0 0,1 1 8 0,0 0 0 0,-2 0-8 15,0 0 8-15,-1 1 0 0,1-1 0 0,-1 1 0 0,0 0 0 0,-1 0 4 16,0 0-4-16,0 0-4 0,-2 0 0 0,1 0 0 0,0 1 0 0,-3-1-4 0,2 1 8 16,-1-2 0-16,-1 1-4 0,1-2 4 0,-3 2-4 0,2-1-4 0,-3 0 0 15,1 0 4-15,-1 0 4 0,-1-2-4 0,0 1 0 0,0 0-4 0,-2-1 4 0,-1 0 8 16,1 1-4-16,-2-2 0 0,0 0 0 0,0-1 0 0,-1 0-4 15,-1 0-4-15,2 0 4 0,-2-2 0 0,0 1 0 0,1-2 8 0,0 0 0 0,0 0-8 16,0-1 0-16,1 0-8 0,1-1 0 0,-1 0 8 0,1 0-4 0,1-1-4 16,0 1 8-16,2-2-8 0,0 0-16 0,1 1-16 0,1-1-4 0,1-1-20 0,-1 1-32 15,3-2 0-15,0 1 12 0,2 0 8 0,1-2 8 0,1 2 8 0</inkml:trace>
  <inkml:trace contextRef="#ctx0" brushRef="#br0" timeOffset="22619.2938">2942 8496 11 0,'2'-4'32'15,"-1"-1"0"-15,0 1 0 0,-1 3-4 0,0-1-4 0,-1 2-4 0,0 1 4 0,-2 1 0 16,1 2-4-16,-2 1 0 0,0 0-4 0,0 2 0 0,0 3 0 0,0 0-4 16,-1 2 4-16,1 0 0 0,-2 1-4 0,1 2 0 0,-1 1 0 0,1 0 0 0,0 2-4 15,-1 0 4-15,-1 0 0 0,2 1-4 0,0 1 0 0,-1 0-4 0,1 1 4 16,-1 0-4-16,1-1 0 0,0 1 4 0,1-1 0 0,0 1 0 0,1-1-4 15,0-1 0-15,0 0 0 0,0-1 0 0,2-1-4 0,-1-1 0 0,1 1 4 16,1-2 0-16,1-1-4 0,0 0 4 0,1-1-4 0,1-1 0 0,0 0 4 0,0-2-4 16,0-2 0-16,2 0 4 0,0-1-4 0,1-1 0 0,0-1 0 0,2-1 0 15,-2-3 0-15,2 0 4 0,2-1-4 0,-1-1 4 0,0 0-4 0,1-3 4 0,0 2 0 16,-1-3 0-16,1 0-4 0,2-2 0 0,-2 0 0 0,2 0 4 15,-1 0-4-15,-1-2 0 0,1 0 0 0,0-1 0 0,-1 1 4 0,1-1 4 0,-2 0-8 16,-1 0 0-16,0-1 4 0,0 2 0 0,-2-2-4 0,-1 2 4 0,-1-1 0 16,-1 1-4-16,0-1 0 0,-2 2 4 0,-1 1-4 0,0 0 4 0,-2 0-4 0,-1 1 0 15,-1 0 8-15,-1 2-4 0,-2-1-4 0,1 1 0 0,-4 2 8 0,2-1-4 16,-2 1 0-16,0 0-4 0,-2 0-4 0,1 1 4 0,-3 1 0 0,1 0 0 15,-1 0 4-15,1 0 0 0,-2 0 0 0,2 0-4 0,-2 1 0 0,1-1 4 0,1 2 0 16,-1-2-8-16,1 2 0 0,0 0 8 0,0-1-8 0,1 1-4 0,0-1 4 16,2 0-4-16,0 1-4 0,1 0 0 0,0 0-12 0,1-1-8 0,1 2-12 15,1-1-36-15,0 0-8 0,2 1 4 0,0-2 8 0,1 1 8 0,-1 0 8 0</inkml:trace>
  <inkml:trace contextRef="#ctx0" brushRef="#br0" timeOffset="24764.4165">22830 3891 19 0,'-1'-2'24'0,"-1"0"0"0,0 0 0 0,1 1-8 16,-1-2 0-16,1 1 0 0,-1 0-4 0,0-1 0 0,1 1 0 0,-1-1-4 0,0 1 0 16,1-1 0-16,-1 1 0 0,0-1 0 0,1 0 0 0,-1 1 0 0,0-1 0 15,0 0-4-15,0 0 4 0,1 0 0 0,0 0 0 0,-1 1 0 0,0-1-4 0,1-1 0 16,-1 1 4-16,1-1 0 0,0 1 0 0,-1 0 0 0,0 0-4 0,2 0 4 15,-2 0 0-15,0 1 0 0,2-1 0 0,-1 0 0 0,-1 1 0 0,1-1-4 16,0 1 0-16,1 0 4 0,-1-1 0 0,0 1 0 0,1 1 0 0,-2 0-4 0,2-2 0 16,-1 2 4-16,1 0-4 0,0 1-4 0,0-2 8 0,0 1-4 0,-1 0 0 15,1 1 0-15,0-1-4 0,0 1 0 0,-1 0 4 0,2-1-4 0,-2 1 0 16,2 0 0-16,-1 0 0 0,1 0 0 0,-1 1 4 0,1-1-4 0,2 0 4 15,-2 2-4-15,1-1 4 0,1 1-4 0,-1-1 4 0,1 1-4 0,0 1 8 0,0 0-4 16,1 0 4-16,0-1-4 0,1 3-4 0,-1-2 4 0,2 2 4 0,-1 0 0 16,1 0 0-16,0 0-4 0,1 1 0 0,0 1 4 0,-1-1 0 0,2 0 0 0,0 3-4 15,-1-1 4-15,1 0 0 0,1 2-4 0,0-2 4 0,-1 2-4 0,0 0 0 16,0 0-4-16,2 1 4 0,-2-1 0 0,0 0 8 0,1 1-8 0,-1 0 8 15,0-1 0-15,-1 1-8 0,2 1 8 0,-1-1 4 0,-2-1-8 0,2 1 4 16,-1 0 0-16,0-1 0 0,-2 0 0 0,2 1 0 0,-1-2 4 0,1 2-4 0,-3-3-8 16,1 2 0-16,0-1 4 0,0-1 0 0,-1 0 0 0,0 0 0 0,1-1 4 15,-2 0-4-15,0 0 4 0,0 0 0 0,0-1-12 0,-1-2 4 0,1 1 0 0,-1 1 0 16,0-2 4-16,0 0 0 0,-1 0 0 0,0-1 0 0,2 0 0 15,-3-1 4-15,0 0-4 0,1 0 0 0,-1 0 0 0,1-2 0 0,-1 2 4 0,1-1 0 16,-1 0 0-16,0-1-4 0,0 1 4 0,0-1-8 0,0 0 0 0,0 0 4 16,0 0 0-16,0 0 0 0,0-1 0 0,0 1-4 0,0-1 0 0,0 0 0 0,0 1-4 15,0 0 4-15,0-2-4 0,-1 2 0 0,1-1 0 0,0 0-4 0,-1 1 0 16,1-1-4-16,0-1-8 0,-1 1-16 0,1 1-12 0,0-2-12 0,0 1-8 15,-1-1-12-15,-1 1-20 0,1-1-24 0,0-1 12 0,0 2 12 0,-2-1 12 0,2-1 8 16,-2 1 8-16,1 1 8 0</inkml:trace>
  <inkml:trace contextRef="#ctx0" brushRef="#br0" timeOffset="33636.9237">7863 10193 27 0,'3'-3'44'0,"-1"0"-8"0,0 1 0 16,-1-2-4-16,1 1 0 0,0 1-4 0,-1-1 0 0,1 1-4 0,-1 0 0 0,-1 0 0 15,0 0 0-15,0 1 0 0,-2 0 0 0,0 0-4 0,0 1 0 0,0 1 4 16,-3 0-8-16,0 0 4 0,0 2-4 0,-1 0-8 0,-1 1 4 0,1-1 0 0,-3 3 4 15,2 0-8-15,-1 1-4 0,0 1 0 0,-2 0 0 0,1 1 8 16,0 0-8-16,-2 0-4 0,0 2 12 0,0-1-8 0,0 2 4 0,-1 0-16 0,0-1 20 16,0 1 0-16,1 0-8 0,-2 0 4 0,2 0-4 0,0 1 4 0,0-1-8 15,0-1 4-15,1 1-4 0,0-1-4 0,1-1 8 0,0 2-4 0,1-3 4 0,0 1-4 16,2-2 4-16,0 0 4 0,1 0-4 0,0 0 0 0,2-2 0 0,1 1-4 15,1-2 4-15,0 1 0 0,1-2 0 0,1 0 0 0,2 1-8 0,1-2 8 16,1 0 0-16,1-1-8 0,1 1-4 0,1-2 8 0,2 0 0 0,1-1 4 0,0 0-4 16,2 0 0-16,0 0 0 0,2 0 4 0,-1-2 0 0,2 2-8 0,-1-3 4 15,3 2 8-15,-2-1-8 0,2-1 0 0,-1 1 4 0,2 0 0 0,0-1-8 0,-2 0 4 16,2 0 4-16,-2 0 0 0,1 0 0 0,-1-1-8 0,1 1-4 0,-1 0 4 15,-1 0 12-15,0 0-12 0,-3 1 0 0,0-2 0 0,0 1 12 0,-2 1-4 16,0-1-4-16,-2 0 4 0,-1 1-4 0,-1 1-4 0,1-1-4 0,-3 1 4 16,0 0 8-16,-1 0-8 0,-1 0 0 0,0 1-4 0,-1-1 0 0,-1 1-4 0,0 0 4 15,-1 0-12-15,0 0-4 0,-1 0-8 0,0 1-8 0,-1-1-12 0,0 0-24 16,-2 0-16-16,2 0 8 0,-2 0 4 0,0 0 16 0,0 0 8 0,-2 1 4 0</inkml:trace>
  <inkml:trace contextRef="#ctx0" brushRef="#br0" timeOffset="33879.9378">7888 10325 15 0,'0'1'32'0,"0"2"-4"0,-1 1 0 0,0 0-4 0,-1 2 4 0,0 0-4 0,0 0-4 16,1 2-4-16,-2 0 4 0,2 1-4 0,-2 1 0 0,0 0-4 0,0 1 4 15,0 1-4-15,0-1-4 0,0 1 0 0,0 0-4 0,1 0 4 0,-2 0 0 16,2 2-4-16,-2-2-4 0,2 1 4 0,0-1 4 0,-1 1-4 0,0-1 0 16,0 0 0-16,1-1 0 0,0 0 0 0,0-1-8 0,0 0 4 0,0-1 0 0,2-1 0 15,-1-1 4-15,1 0-4 0,0 0 0 0,0-2 0 0,0 0 0 0,1 0 0 16,0-2 0-16,0 0 0 0,1-1-4 0,-1 0-4 0,1-2-4 0,0 0-16 0,-1 0-16 15,0-1-24-15,0 0-4 0,0-2 8 0,-1 0 12 0</inkml:trace>
  <inkml:trace contextRef="#ctx0" brushRef="#br0" timeOffset="34430.9693">7552 10755 19 0,'-9'-4'32'0,"0"-3"0"16,-1 2-4-16,2-3-4 0,0 2-4 0,-1-2 0 0,1-1 4 0,-1 1-8 15,2-1 0-15,0-1-4 0,0 0 0 0,1-3 0 0,1 3-4 0,0-3 0 0,1-1 0 16,2 0 0-16,-1-1 0 0,2-2-4 0,-1-1 4 0,2-2-4 0,2 1-4 15,0-3 0-15,1 0 0 0,2-2 4 0,2-1 0 0,0 0 0 0,3-1 0 16,0-1 0-16,2 0 0 0,3 0-4 0,0 1 0 0,2-1 0 0,1 2 4 0,2-1-4 16,2 2 0-16,-1-1 0 0,1 3 0 0,2 0 4 0,1 1-4 0,1 3 4 15,-1 1-4-15,1 2 0 0,2 1 4 0,-1 2-4 0,0 2 0 0,0 3 0 0,1 1 0 16,0 4 4-16,-1 1 0 0,-1 2-4 0,0 3 4 0,1 1-4 0,-3 2 4 15,1 4-4-15,-2 0 4 0,-1 2-4 0,0 2 4 0,-1 0-4 0,-3 1 4 16,0 0-4-16,-3 3 4 0,2-1 0 0,-4 0 4 0,1 1 0 0,-2 1-4 16,-2-1 4-16,1 0 0 0,-3 1 4 0,0-1 4 0,-3 1-4 0,1-1 4 0,-2-1-4 15,0 2 0-15,-3-2-4 0,0 1 8 0,-1-2-8 0,-1 2 0 0,-2-2 8 16,0 1 0-16,-1-1-4 0,-3 1 8 0,0-2-12 0,0 1 4 0,-1 0 4 0,-3-2-8 15,1 2 0-15,-1-2 4 0,-3 2-8 0,2-3-4 0,-3 1-4 16,1-1 8-16,-1 0 4 0,-1-2-8 0,-1 0 8 0,1 0-4 0,-2-3-4 0,1 0-4 16,-2 0 4-16,-1-2 0 0,0-1-4 0,0-2 0 0,-1 1 8 0,0-3 0 15,0 1-4-15,-1-3-8 0,2 0 12 0,-2 0-4 0,1-3 0 0,0 1-4 0,2-2 8 16,-2 0-4-16,3-1-12 0,-1-1-4 0,1 1-8 0,1-2-12 0,2 0-8 15,0-1-16-15,0 0-28 0,2 1-4 0,1 0 12 0,1-1 8 0,2 1 8 16,0 2 4-16</inkml:trace>
  <inkml:trace contextRef="#ctx0" brushRef="#br0" timeOffset="35024.0032">9657 10089 15 0,'3'-7'32'0,"0"1"-4"0,-1 1-4 16,0 1 0-16,-1-1-4 0,-1 3 0 0,0-1-4 0,-1 3 0 0,-1-1-4 0,0 2 0 15,-1 0 0-15,-1 2-4 0,-2 1 0 0,1 1 0 0,-2 0 0 0,0 2-4 16,-1 0 4-16,-1 0 0 0,1 2-4 0,-1 0 4 0,0 1-4 0,0 1 0 16,0 0 0-16,1 1 4 0,-1-1-8 0,1 1 4 0,0 1-4 0,-2 0 0 0,3-1 0 15,-1 0 0-15,1 1 4 0,0-1 0 0,0 0-4 0,2 0 4 0,0-2-4 16,1 2 4-16,0-2 0 0,2 1-4 0,0-2 4 0,2 1 0 0,1-1 0 0,1-2 0 15,3 1 0-15,0-2 0 0,2 0 0 0,0-1 0 0,3 1 0 16,0-2 4-16,1-1 0 0,1 1 0 0,1-1 0 0,2-2 0 0,-1 0 0 0,3 1 0 16,-2-1 0-16,3-1 0 0,-1 2 0 0,1-2-4 0,0-2 4 0,0 2 0 15,1 0 0-15,-1-1-4 0,1 0 0 0,0 0 4 0,-1-1-4 0,1 0 0 0,-2 1 0 16,0 0 0-16,0-2 0 0,-2 3-4 0,0-3 4 0,-1 0 0 0,-1 2 0 15,0-2 0-15,-2 2-8 0,0-1 4 0,-1 0 0 0,-1 1 0 0,-1 0 0 16,0 0 0-16,-2-1 0 0,0 2 0 0,-1-1 0 0,0 0 0 0,-2 1 0 16,0-1 0-16,1 0 0 0,-2 1-4 0,-1 0-8 0,0-1-12 0,-1 1 0 0,0 0-24 15,-2 0-4-15,1 0-32 0,-1-2 4 0,-2 2 12 0,1-1 8 0,0 0 4 16</inkml:trace>
  <inkml:trace contextRef="#ctx0" brushRef="#br0" timeOffset="35227.0149">9802 10232 15 0,'1'3'28'16,"-1"-1"-4"-16,1 1 0 0,-1 0-4 0,0 2 0 0,0 0 0 0,0 0-4 16,0 0 4-16,2 3-8 0,-4-1 4 0,2 0-4 0,0 1 0 0,0 2 0 0,0-1-4 15,0 1 0-15,0-1 0 0,2 2 0 0,-2 0 0 0,0-1-4 0,1 2-4 16,-1-1 4-16,1 0 0 0,0 0-4 0,-1 1 4 0,1-2 0 0,0 2-4 0,1-2 0 15,-1 0 0-15,1-1 0 0,0-1 0 0,-1 1 0 0,1-1 0 0,0 0-4 16,1-1 0-16,-1 0-12 0,1-1-4 0,-2-1-12 0,2 1-28 0,-1-1-8 16,1-1 8-16</inkml:trace>
  <inkml:trace contextRef="#ctx0" brushRef="#br0" timeOffset="35654.0392">9688 10726 19 0,'-9'4'36'0,"0"-1"-4"0,0-1 0 0,0 0 0 0,-2-2-8 0,1 2 0 16,1-2-4-16,-2 0 0 0,1-2-4 0,0 1 4 0,-1-1-4 0,1-1 0 15,1 0-4-15,-1-1 0 0,0-1 0 0,1-2-4 0,-1 0 0 0,2 0-4 16,-1-2 4-16,0 0-4 0,1-2 4 0,1 0-8 0,-2-1 8 0,1-3 0 16,1 1-4-16,0-2 0 0,1 0 0 0,0-1 0 0,0-2 0 0,1-1 0 0,0-1-4 15,2-1 0-15,0-2 0 0,0-1 0 0,1 0 0 0,1-1 4 0,1-2-4 16,1 0 0-16,-1-2 0 0,3 1 4 0,0 0-4 0,1-2 0 0,1 1 0 0,1 1-12 15,2-1 12-15,0 1 4 0,1 0 0 0,3 1-4 0,0 0 0 16,1 3 0-16,2-1 0 0,-1 1 0 0,4 1 0 0,1 1 0 0,0 2 0 0,1 1 0 16,3 2 0-16,-1 2-4 0,2 0 4 0,1 3 0 0,1 1 0 0,0 3 0 15,0 0 0-15,2 3 4 0,0 1 0 0,1 4 0 0,0 0 0 0,0 2-4 0,0 2 0 16,0 0 4-16,0 3-4 0,-1 0 0 0,0 2 4 0,-1 2-4 0,-1 0 4 15,0 0 0-15,-1 5 0 0,0-2 0 0,-2 2 4 0,-2 2-4 0,-1 1 0 16,-1-1 0-16,-2 3-4 0,-2-1 0 0,-2 2 4 0,-1 1 0 0,-1 0-4 0,-4 1 4 16,0 2 0-16,-2-2 0 0,-1 2 0 0,-2 1 4 0,-2 0 4 0,-4 0 0 15,1 2 0-15,-1-1 4 0,-3 0 0 0,0 1 0 0,-2-1-8 0,-1-1-4 0,-2 0 0 16,-1 1 0-16,0-1 8 0,-3 0-8 0,1-1 0 0,-2 0 4 0,0-3 0 15,-2 3-8-15,1-3 4 0,-2-1 4 0,-1 0 0 0,2-1-8 0,-2-2 8 16,-1-2-12-16,2 1 8 0,-1-4 0 0,-1 0 0 0,2-2 0 0,-2-2-8 16,1-1 0-16,-1-4 4 0,2 1-16 0,0-4-4 0,-1-1-8 0,1-1-8 0,0-2 0 15,1-1 0-15,-1-3-4 0,0 0-12 0,2-3-8 0,-2-1-24 0,1-2 8 16,2 0 8-16,-1-1 8 0,1-4 8 0</inkml:trace>
  <inkml:trace contextRef="#ctx0" brushRef="#br0" timeOffset="36214.0712">8226 9932 19 0,'-5'-2'28'15,"1"0"4"-15,-1-1-4 0,0 1-4 0,0-1 0 0,1 0 0 0,-1 0-4 16,2-1 0-16,0 1 0 0,0-2-4 0,1 0 0 0,0 1-4 0,2-3 4 0,-1 2-4 15,2-2 4-15,0 0-4 0,1 0 0 0,1-2 0 0,0 0 0 0,2-1 0 16,1-1 4-16,2 0-4 0,0-2 4 0,0 1-4 0,3-1 0 0,-1-2 0 16,3 1-4-16,1-3 4 0,0 2 0 0,2-3 0 0,2 0-4 0,1 0 4 0,-1-2-4 15,5 0 0-15,-1-2-4 0,2 1 0 0,1-2 0 0,-1 0-4 0,3 1 4 16,-1-2 0-16,1 0-4 0,0 2 0 0,0-1 4 0,-2 0 0 0,1 1-4 0,0 0 4 15,-1 2-4-15,-1 0 0 0,-2 1 4 0,0 0-4 0,1 2 0 16,-3 1 4-16,-1 0 0 0,-1 2 4 0,-1 1-8 0,-1 0 0 0,-2 3 0 0,0 1 4 16,-2 0-8-16,-3 2 4 0,0 2 0 0,-2 1 0 0,-2 2-4 0,-1 1 0 15,-1 2 0-15,-2 1-4 0,0 1 4 0,-2 1-4 0,1-1 0 0,-1 3-8 0,-1 0-4 16,0 0-8-16,0 0-8 0,0 0-12 0,0 0-28 0,0 0-8 0,0 0 12 15,1 0 8-15,-1 0 4 0</inkml:trace>
  <inkml:trace contextRef="#ctx0" brushRef="#br0" timeOffset="36641.0956">9456 9074 15 0,'1'3'20'0,"3"1"4"0,-1 2-4 0,2 0 0 0,0 1 4 0,0 1 0 16,1 2 0-16,0 0-4 0,2 2 0 0,0 2 0 0,0-1-4 0,1 2 0 0,1 1 0 15,0 0 0-15,0 1-4 0,2-1 0 0,-3 2 4 0,3-1-4 16,-1 1 0-16,0-1 0 0,1 2-4 0,-2-2 0 0,1 1 4 0,0-1 0 0,-1-2-4 16,0 1 0-16,0 0 0 0,-1-2 0 0,0-1-4 0,0-1 0 0,0 1 0 15,-3-3 0-15,2 0 0 0,-3-1 0 0,2 0-4 0,-1-2 4 0,-1-1 0 0,-1 0 0 16,0 0-4-16,-1-1 4 0,1-2-4 0,0 0 0 0,-3 0 0 0,2 0 0 15,-1-2 4-15,-2 2-4 0,2-3 0 0,-1 1 0 0,-1-1-4 0,0 2 4 16,0-2-4-16,0 0-4 0,-1 0-12 0,0 0-16 0,0-2-16 0,0 2-24 16,-1-1-12-16,0-1 20 0,1 0 8 0,-2-1 8 0</inkml:trace>
  <inkml:trace contextRef="#ctx0" brushRef="#br0" timeOffset="37336.1353">8885 9258 19 0,'-10'-2'28'0,"2"-2"-4"0,-2 0 0 0,0-1-4 16,0 0 0-16,0 0-4 0,-1-1 4 0,2 0-4 0,-1 0-4 0,-1-1 0 15,1 0-4-15,1 0 0 0,-2-1 4 0,1 0 0 0,1-1-4 0,0 0 0 16,-2 0 0-16,2 0 0 0,-1-1-4 0,0 0 0 0,1-1 0 0,0 0 0 16,0 0 0-16,0-1 0 0,1 1 0 0,0-1 0 0,0 0-12 0,1-1 12 0,1-1 0 15,1 0 0-15,0 0-4 0,0-1 4 0,1 0 0 0,3 0-4 0,0-2 0 16,1-1 4-16,2 1 0 0,0-2-4 0,2 0 4 0,2-1-4 0,1-1 4 0,1-1-4 15,1 0 0-15,2-2 0 0,1 1 0 0,2-2 0 0,0 1 0 0,2-2 0 16,1 0-4-16,1 0 4 0,0 0 0 0,3 1 0 0,0-2 0 0,1 1 0 16,1 1 0-16,1 0 0 0,0 1 0 0,2 1 0 0,-1 1 0 0,1-1 4 0,1 2-4 15,0 1 0-15,1 2 0 0,0 0-4 0,1 2 4 0,0 1 0 0,1 2 0 16,-1 2 0-16,2 0 4 0,0 4-4 0,1 2 0 0,-1-1 0 0,0 5 0 0,0 1 0 15,1 3 0-15,-1 1 0 0,0 3 0 0,0 0 0 0,-1 3 4 16,1 1-4-16,-2 1 0 0,0 2 4 0,-2 0 0 0,1 2-4 0,-1 2 4 0,-2 0-4 16,0 1 4-16,-2 0-4 0,-1 1 8 0,-2 3 0 0,0-1-4 0,-4 1 0 15,0 2 8-15,-3-1-4 0,-3 0 4 0,0 2 0 0,-4-1 4 0,-2 2 4 0,-2-1 0 16,-2-1-8-16,-3 2 0 0,-1-2 0 0,-2 1 0 0,-4 0-4 0,0-1 12 15,-3 0-16-15,-2 1 12 0,0-1-4 0,-3 0-8 0,-2-1 0 0,0 1 12 16,-2-2-16-16,-1 0 12 0,1 2-12 0,-3-3 8 0,0 1 4 0,0-2-8 16,-2-1-4-16,1 0 0 0,0-1 12 0,0-1-16 0,-1 0 8 0,0-2 0 0,1-1-8 15,-1 0 8-15,0-2-8 0,2-1 4 0,-1-1 4 0,0-1-4 0,0-2 12 16,2-1-12-16,-1-2-4 0,2 0 4 0,0-2 0 0,1-2-4 0,0-2 0 0,2-1 12 15,0-2-4-15,2 0-12 0,0-1 4 0,0-2-8 0,3-2-8 0,-1 0-16 16,2-1-8-16,1-1-28 0,0 0-20 0,2-1 4 0,0-1 4 0,3 1 12 16,0-1 8-16,2 0 8 0</inkml:trace>
  <inkml:trace contextRef="#ctx0" brushRef="#br0" timeOffset="39173.2406">10264 8819 3 0,'7'3'12'0,"-1"-1"4"0,1 1 0 15,0 1 4-15,2-1-4 0,-2 1 0 0,1 0 0 0,0-1-4 0,2 1-4 16,-2 0 4-16,1 0 0 0,-1 1-4 0,0-1 4 0,1 1 0 0,-2-1 0 15,0 1 0-15,2 0 0 0,-3 0-4 0,1 0 0 0,-1 0 0 0,0-1 0 16,-2 2 0-16,1 1 0 0,-2-2-4 0,-1 0 4 0,0 0-4 0,0 2 4 0,-2-2-4 16,0 0 0-16,-2 2 0 0,0-2 0 0,0 0 0 0,-1 0 0 0,-1 0 0 15,0 0 0-15,-2 1-4 0,1-1 4 0,0-2-4 0,-1 2 8 0,0 0-4 0,-1 0 0 16,1-2 0-16,-1 1 0 0,1 0 0 0,-1-1 0 0,0 0 4 0,0-1-4 15,1 1 0-15,0-1 0 0,0-1 0 0,-1 1-4 0,2-2 0 0,0 0 4 16,1 0 0-16,0-2-4 0,0 1 4 0,1-1 0 0,-1-1 0 0,3-1 0 0,-1 1-4 16,1-1 0-16,1-1 4 0,0-1 0 0,1 0-4 0,2-1 0 0,-1 0 4 15,3-1 0-15,-1-1 0 0,2 0 0 0,1-1-4 0,0-1 4 0,1 0 0 0,1-1 0 16,0 1 0-16,3-1 0 0,-2-1 0 0,0 0 0 0,3-1 0 15,-2 2 0-15,0-2 0 0,1 1 0 0,-1 0 4 0,1 0 0 0,-2 1-4 0,1 0 4 16,0 0 0-16,-1 1 0 0,-1 0 0 0,0-1-4 0,-1 3 4 0,-1-2-4 16,-1 1 4-16,-2 2-4 0,0-1 8 0,0 1-8 0,-2 1 0 0,-2 1 0 0,-2 0 4 15,-2 1-4-15,0 2-4 0,-2 0 4 0,-1 0 0 0,-1 1 0 0,-1 2-8 16,-1-2 8-16,0 2-8 0,-1 2 0 0,-1-2 0 0,1 2 4 0,-2-1 0 15,1 2 0-15,-1-1-4 0,-1 1 4 0,2 0 0 0,-2 1 4 0,2 0 0 16,-2-1-8-16,1 3 4 0,1-2 4 0,0 1-8 0,1-2 0 0,-1 3 8 0,3-1-8 16,-1 0 0-16,1 0 0 0,0 0 0 0,3 0 0 0,-1 0 0 0,1 0 4 15,1 0-4-15,1-1 0 0,2 0 0 0,-1 1-4 0,2-1-12 0,0-1-12 0,1 1-24 16,0-3-32-16,2 3 4 0,0-2 4 0,0-1 12 0,2 1 8 15,-1-1 0-15</inkml:trace>
  <inkml:trace contextRef="#ctx0" brushRef="#br0" timeOffset="41601.3795">21305 3848 7 0,'-4'-3'32'0,"0"0"-4"0,0 0-4 0,-1-1 0 16,1 1-4-16,-1 1 0 0,1-1-4 0,-1-1 0 0,1 1 0 0,-2 0 0 15,2 0 0-15,-1 0-4 0,1 0 0 0,-1 0 0 0,1-2-4 0,0 3 0 16,-1-1 4-16,1-1 0 0,1 1-4 0,0 0 0 0,0 0 4 0,1 0-4 0,-1 1 0 16,1-1 0-16,-1 0 0 0,2 1 0 0,-1 0 0 0,0 1 0 0,-1-2 0 15,2 2 0-15,0 0 0 0,0-1 0 0,0 0-4 0,0 1 4 0,0 0-4 0,0 0 0 16,1 0-4-16,0 0 4 0,-1 0 0 0,1 1 0 0,-1 0 0 15,1-1 0-15,0 1 0 0,0 0-4 0,1-1 4 0,-1 2 0 0,1-1 0 0,-1 1-4 16,1 0 0-16,0 0 4 0,1 1-4 0,-1-1 0 0,0 1 4 0,3 1 0 16,-3-1 0-16,2 1-4 0,-1-1 4 0,1 3 0 0,1-3 0 0,-1 3-4 0,0 0 4 15,1-1 4-15,0 0-4 0,2 2 0 0,-1 0 0 0,0 0 0 0,1 1 0 16,0 0 4-16,1 0-4 0,0 2 4 0,-1-1-4 0,1 0 4 0,0 2-4 15,1-2 4-15,-1 1-4 0,1 0 4 0,-1 1-4 0,1 0 4 0,0-2 0 0,-1 2-4 16,0-1 4-16,1 1 0 0,-1-1-4 0,0 0 4 0,-1 0-4 0,2 0 4 16,-1-1-8-16,-2 0 4 0,2 1 0 0,-1-1-4 0,0 1 4 0,-1-2 0 0,0 1-4 15,0-1 4-15,-1 0 4 0,1-1-4 0,-1 1-8 0,0 0 12 0,1 0-8 16,-2-2 0-16,-1 1 12 0,2-1-8 0,-1 1 0 0,-1-1-4 0,1 0 4 15,-1 0 0-15,0-1 4 0,1 0-8 0,-1 1 8 0,0-2-4 0,-1 1 0 16,1 0 0-16,-1-1 0 0,0 1 0 0,0-2-4 0,1 1 0 0,-1-1 4 0,-1 1-4 16,1-1 0-16,-1 0 4 0,1-1-12 0,-1 0 16 0,1 0-8 0,-1 0-4 15,0 0 0-15,1-1 0 0,-1 2 0 0,1-2 0 0,-1 0 0 0,1 0 4 0,0 1-20 16,-1-1-8-16,1 0-8 0,0 0-16 0,-1 0-12 15,1 0-32-15,0 0 0 0,0-1 4 0,1 1 16 0,-2 0 8 0,2 0 4 0</inkml:trace>
  <inkml:trace contextRef="#ctx0" brushRef="#br0" timeOffset="42546.4335">23232 3863 19 0,'0'-3'20'15,"2"0"0"-15,-1 2-4 0,0-1 0 0,-1 1-4 0,1-1 0 0,-1 2 4 16,1-1 0-16,-1 0-4 0,0 1-4 0,0 0 0 0,1 0 0 0,-1 0 4 0,1 1-4 16,-1 0 0-16,1 0 0 0,0 1 0 0,-1-1 0 0,2 1 0 0,-1 1 4 15,1 0-4-15,-1 0 0 0,1 0 0 0,0 1 0 0,1 0 0 0,0 1 0 0,-1 0 0 16,4 0 0-16,-3 1 4 0,1 0-4 0,1 1 0 0,-1 0 0 15,2 0 4-15,-1 2-4 0,1-1 0 0,0 2 0 0,1 0 0 0,-1-1 0 0,2 2 4 16,-2-1-4-16,2 2 0 0,-2 0 0 0,2 0 0 0,0 0 4 0,-1 0 0 16,1 0-4-16,0 1 0 0,0-1 0 0,0 1 4 0,0-1-4 0,-1 1 4 0,2 1-4 15,-2-2 8-15,1 1-4 0,-1-1-4 0,1 0-8 0,-1 0 0 0,0-1 4 16,0 1 8-16,0-1-4 0,-1-1-4 0,0 1 12 0,-4074-1-12 0,8147 0 0 15,-4073-1 0-15,-1 0 0 0,-1-1 0 0,1 0 0 0,-1-1 0 0,-1 0 0 16,1 0 4-16,1-2-8 0,-2 1 4 0,-1-1 4 0,1 0-4 0,-1-1-4 0,1-1 12 16,-2 1-4-16,2-1-4 0,-2 0-4 0,0 0 8 0,0-2-4 0,0 1 0 15,0-1 0-15,-1 1 0 0,1-1-4 0,-1-1 4 0,0 0 0 0,0 0-12 0,0 0 8 16,0 0 0-16,-1 0-4 0,0-1 4 0,-1 1-16 0,1-2-12 0,-1 0-16 15,0 1-12-15,-1-2-28 0,-1 1-16 0,1 0 8 0,-3-1 8 0,2 1 8 16,-2 0 8-16,0-1 8 0</inkml:trace>
  <inkml:trace contextRef="#ctx0" brushRef="#br0" timeOffset="47401.7112">5766 8851 47 0,'0'-4'52'0,"0"1"-4"15,0 1-8-15,0-1-4 0,0 1-4 0,0-1 0 0,-1 2-8 0,0-1 0 16,1 1-4-16,-1-1 0 0,1 1-4 0,-1 0 0 0,-1 0 0 0,1 0 0 0,0 1 0 15,0 0 0-15,-1-2 0 0,1 2 0 0,-1 0-4 0,1 2 0 0,0-2 0 16,1 2 0-16,1-1 0 0,0 2-4 0,1-1 4 0,0 2 0 0,1-1-12 16,1 1 12-16,-1 0-4 0,1 0 4 0,2 1-4 0,-1-1-12 0,1 1 12 15,0 1-8-15,1-1 4 0,1 1-4 0,0-1 4 0,1 1 0 0,2-1 4 16,-1 1 0-16,1 1 0 0,1-1-8 0,0 1-4 0,2-2 8 0,-1 3 0 0,0-2 4 15,2 0-8-15,-1-1 0 0,1 2 4 0,0-1-4 0,1-1-4 0,-1 2 12 0,1-1-8 16,-1 1 0-16,1-2 4 0,-2 1 0 0,1 1-4 0,-1-2 8 0,0 2 0 16,-1-2-8-16,0 1 0 0,-2 0 4 0,1 0 4 0,-1 0-8 0,-1 0 0 15,-2-1 8-15,0 1 0 0,-1 0 0 0,-1-1-4 0,0 2 0 0,-2 0 4 0,-1-1 0 16,0 0 8-16,-2 0-4 0,-1 1-4 0,0-1 0 0,-2 1-4 0,0-1 8 15,-2 0-4-15,0 1-4 0,-1-1 0 0,-1 0 0 0,-2 0 8 0,1 0-8 0,-1 0-4 16,-1 0 4-16,-1 0 4 0,1-1-8 0,-1 0 0 0,-2 0 4 16,1-1-4-16,-1 1 0 0,0-1 4 0,-1-2 0 0,-1 2-4 0,2-1 4 0,-2-1-4 15,1-1 0-15,-1-1 4 0,0 0-8 0,0-1 8 0,0 0-12 0,1-2 8 16,-2 0 4-16,2 0-12 0,-1-2 8 0,2 0-4 0,0-2 0 0,-1 0 0 0,3-1 0 15,-1-2 0-15,-1 1 0 0,2-1-4 0,1-2 4 0,0 1 0 0,2-2-4 16,-1-1 0-16,3 0 0 0,-2 0 4 0,3-1 0 0,0-1 0 0,1 0-4 16,2 0 8-16,0-2-4 0,2 2-4 0,0-2 8 0,2 0 0 0,0 1 0 15,1-1 4-15,3 1-4 0,-1 0 0 0,1 0-4 0,0 0 4 0,3 2 0 0,-2-1 0 16,2 2 0-16,-1 1 0 0,2 0-4 0,0 1 4 0,1 0 4 0,-2 1-4 15,1 2 0-15,1 0 4 0,0 2 0 0,-1 0 0 0,2 0 0 0,-3 2-8 0,3 1 8 16,-2 0-4-16,-1 1 4 0,2 1-8 0,-2 0 8 0,0 2-4 16,0 0 0-16,0 0 4 0,-2 1 0 0,1 0 0 0,1 1-8 0,-2 0 8 0,-1 0-4 15,2 1 4-15,-1-2-4 0,-2 1-4 0,2 1 0 0,-2-1 4 0,2-1 4 16,-2 2 0-16,1-1-8 0,-1-1 8 0,1 0-4 0,-1 1 0 0,0-1 0 0,-2 1 0 15,2-1 0-15,-1 0-12 0,0 0-8 0,0 0-8 0,-1 0-12 16,-1 0-4-16,1-1-12 0,-1 2-16 0,-1-2-20 0,0 1-8 0,-1 1 12 0,0-1 8 16,-1 1 12-16,-1 0 4 0,0 0 8 0</inkml:trace>
  <inkml:trace contextRef="#ctx0" brushRef="#br0" timeOffset="50421.884">5651 9268 15 0,'-6'-1'28'0,"1"-3"0"0,0 1-4 0,0 0 0 16,-1-1-4-16,1 0 0 0,-1-1 0 0,1 1-4 0,-1-1 0 0,0 1-4 15,1-1 4-15,-1 0-4 0,1 0 0 0,0 0 0 0,0 0-4 0,1 0 4 0,-1 0-4 16,0-1 4-16,-1 2-4 0,2-3 0 0,-1 2 4 0,0-1 0 0,0 0 0 15,0-1-4-15,-1 1 4 0,1-1-4 0,0 1 0 0,1-1 0 0,-1 0-4 16,1 1 0-16,-2 0 4 0,2-1-4 0,-1-1 4 0,1 2-4 0,0-1 4 0,0 0 0 16,1 0-4-16,0 0 4 0,-2 0-4 0,2-1 0 0,1 1 0 0,0-1 0 15,0-1-4-15,1 2 4 0,-1-1 0 0,1-1-4 0,1 0 4 0,0 0-4 16,1 0 4-16,0-1-4 0,1 0 0 0,-1 1 4 0,2-2 0 0,-1-1-4 0,1 3 0 15,2-4 4-15,0 3-4 0,-1-3 0 0,2 1 0 0,0-1 0 0,0 0 0 16,1-1-4-16,1 2 4 0,-1-3 0 0,1 1 0 0,2 0 0 0,-1-1 0 16,0 1 0-16,2-2 0 0,0 2 0 0,-2-1 0 0,4 1 0 0,-2-1 0 0,1 2 0 15,1-1 0-15,0-1 0 0,1 3 0 0,0-1 0 0,1 1 4 0,0-1-4 16,1 2 0-16,-1 1 0 0,3-1 0 0,-1 0 0 0,1 2 0 0,1-1 0 0,0 0 0 15,1 2-4-15,-1-1 4 0,2 2 0 0,1 0 0 0,-2-1 0 16,2 3 0-16,1-1 0 0,-1 1 0 0,-1 0 0 0,2 1-4 0,0 1 4 0,1-1 0 16,-2 2 0-16,1 0 0 0,-1 1 0 0,1-1 0 0,-1 2 0 0,0-1 0 15,0 1 0-15,-1 1 0 0,0-1 0 0,1 2 0 0,-3 0 4 0,1 0-4 0,0 1 0 16,-2 0 0-16,0 1 0 0,-1 0 0 0,1 0 0 0,-1 1 0 0,-1 2 4 15,-1-1 0-15,0 1-4 0,-1 0 0 0,0 1 0 0,-1 1 0 0,1-1 0 16,-2 1 4-16,0 0-4 0,0 1 4 0,-2 1 0 0,0-3-4 0,0 3-4 16,-1-1 4-16,0 1 0 0,-2 0 4 0,0 0-4 0,0 0 4 0,-1 1-4 0,0 0 0 15,-1 0 0-15,-2-1 4 0,0 1-4 0,0 1 0 0,-1-1 0 0,0-1 4 16,-2 1-4-16,0 1 4 0,0-1 0 0,-1 1 0 0,-2-2-4 0,1 1 8 0,-1-1-4 15,0 2-4-15,-1-1 4 0,-2 0 4 0,1-1-8 0,0 1 4 16,0-1-8-16,-2 1 4 0,1-1 0 0,-2 1 0 0,1-1 0 0,-2 2 0 0,2-2 0 16,-2-1 0-16,0 2 0 0,0-1 0 0,-2 1 4 0,1 0 0 0,0-1 0 15,-1 0-4-15,-1 0-4 0,1 1 8 0,-2 0-4 0,1 0 0 0,-2-1 0 0,0 2 0 16,-1-1 8-16,1 1-8 0,-2-2-4 0,0 1 4 0,-1-1 4 0,1 2-4 15,-1-3 0-15,-1 2 0 0,-1-2 0 0,0 1 0 0,0 0 0 0,-1-1 4 16,-2 0-4-16,3-1-4 0,-4-1 0 0,1 1 8 0,0-1-4 0,-1-1-4 16,0 0 4-16,0 1 0 0,0-3-4 0,-1 0 0 0,0 0 4 0,1-1 0 0,0 0 0 15,0-2 0-15,0 0 0 0,-1 0 0 0,3-1 0 0,0-1 0 0,-1-1-4 16,2-1 0-16,-1 1 0 0,1-2-4 0,1-1-4 0,0 0-16 0,1-1-4 0,2-2-8 15,-1 1-20-15,2-3-24 0,0 1 4 0,1-2 8 0,2-1 8 0,0 1 4 16</inkml:trace>
  <inkml:trace contextRef="#ctx0" brushRef="#br0" timeOffset="51025.9185">4705 8290 11 0,'-6'0'36'0,"-1"2"-4"0,2-2 0 0,0 0 0 0,1 0-4 0,-1 0 4 16,1-2-8-16,0 2 0 0,0-1 0 0,0 1-4 0,1-1 0 0,1 0-4 15,-1 1 0-15,2-1-4 0,0 0 8 0,-1 0-8 0,1 1-4 0,1-1 0 16,0 0 0-16,0 0-4 0,0-1 4 0,0-1 0 0,0 1-4 0,1 0 0 0,0-1 0 15,1 0 0-15,-1 0 0 0,2-2 0 0,-1 1 0 0,2-1-4 0,1 0 4 16,-1-1-4-16,1 0 4 0,0-1-4 0,2 1 4 0,0-2 0 0,3 0-4 0,-2-1 4 16,2 0 0-16,1 0-4 0,1-1 0 0,2 0 4 0,0-1-4 15,0-1 4-15,3 1 0 0,0-1 0 0,1 0-4 0,1 0 4 0,-1 0 0 0,2-1 0 16,1 1-4-16,-2-1-4 0,1 2 4 0,1-1 0 0,-2 1 0 0,2-1 4 15,-2 1 0-15,-1 1-4 0,2-1 0 0,-3 2-4 0,0 0 4 0,-1 0 0 0,0 2 4 16,-2-2 0-16,0 2-4 0,-1 1 0 0,0 0 0 0,-3 0 0 0,0 1 4 16,0 1-4-16,-3 0 0 0,-1 1 0 0,-1 0 0 0,0 1 4 0,0 0 0 15,-3 1-4-15,0 0 0 0,0 0 0 0,-1 1-4 0,0-1 4 0,0 1-4 16,-1 0 4-16,-1 0-8 0,1 1 4 0,-1-1 0 0,0 0 0 0,1 2-4 0,-1-1 0 15,1 0-8-15,-1 0 0 0,1 0-8 0,0 1-8 0,0 0-24 0,0-1-20 16,0 1-4-16,0 0 12 0,0 0 4 0,0 0 8 0</inkml:trace>
  <inkml:trace contextRef="#ctx0" brushRef="#br0" timeOffset="51432.9418">5820 7890 15 0,'-4'-4'36'0,"-1"3"-4"0,1-2-4 0,1 1-4 0,-1-1 0 16,0 3-8-16,2-2 0 0,-1 1 0 0,2-1 0 0,-2 2-4 0,3 0 0 15,-1 0-4-15,1 2 0 0,0 0 4 0,1-1-4 0,-1 2 0 0,2 0-4 16,0 0 4-16,2 3 0 0,-1 0 0 0,3 0-4 0,-1 1 4 0,1 1 0 0,0-1-4 15,1 2 4-15,1 1 0 0,-1-1-4 0,1 1 4 0,0 1-4 0,2 0 4 16,-2 0-4-16,1 1 0 0,1 0-4 0,0 0 4 0,-1 1 4 0,2-1-4 0,-2-1 0 16,1 1 4-16,-1 0-4 0,1-1 0 0,-1 0 0 0,0 1 0 15,1-3 4-15,-2 2-4 0,-1-1 0 0,1-1 0 0,-1-1 0 0,0 0-4 0,-1-1 4 16,-1-1 0-16,0 0 0 0,1 0 0 0,-2-1 0 0,-1-2 4 0,1 2-4 15,-1-1-4-15,0-3 4 0,-2 2-4 0,1-1 0 0,-1 0 4 0,0-1-8 0,0 0 4 16,-1 0-4-16,0-1 0 0,-1 1-8 0,0-1-8 0,-1 0 0 0,0 0-12 16,-1-1-20-16,0 1-24 0,-1-1 0 0,0 0 8 0,-1 0 8 0,0 1 4 15</inkml:trace>
  <inkml:trace contextRef="#ctx0" brushRef="#br0" timeOffset="51991.9738">5572 8138 7 0,'-12'-3'36'0,"-2"0"-4"0,1-2 0 0,-2 3-4 16,1-3-8-16,-1 2 0 0,0-2 0 0,0 0 0 0,-1 1-4 0,-1-2 0 15,0 1-4-15,0-2 0 0,0 1 4 0,-2 1-4 0,1-4-4 0,1 2 0 0,-1 0 4 16,0-1-4-16,0 1-4 0,0-2 4 0,0 1-4 0,0-2 4 0,1 0 0 16,-1 0 0-16,2 0-4 0,-1-2 0 0,1 1 4 0,0-2-4 0,2 1 0 15,-1-2 0-15,2-1-4 0,-1 1 4 0,3-2 0 0,0 0 0 0,0-1-4 0,2 0 0 16,1-1 4-16,0 0-4 0,2-1 4 0,2-1-4 0,0-2 0 0,1 1 4 15,2 0 0-15,1-1-4 0,1 1 4 0,1-2-4 0,1 1 0 0,2 1 0 16,1-2 0-16,1 0 0 0,2 1 0 0,0-1 0 0,3 0 4 0,0 1-8 0,1 0 4 16,2 1 0-16,-1 0 0 0,3 0 0 0,0 1 0 0,1 0 4 0,2 2-4 15,-1-1 4-15,2 1-4 0,1 2 0 0,-2 1 0 0,4 1-4 0,-1 1 4 16,1 1 0-16,-1 1 0 0,1 2 0 0,1 0 0 0,1 2 0 0,-1 1 0 0,2 1 0 15,-2 2 4-15,1-1-4 0,2 3 0 0,-1 1 0 0,0 1 4 0,1 1 0 16,-1 0-4-16,1 3 4 0,-2-1-4 0,1 2 0 0,0 1 0 0,0 0 4 0,-2 1 0 16,1 2 0-16,-3 0-4 0,1-1 4 0,0 2-4 0,-1 1 0 15,-2 0 4-15,0 0 0 0,-1 0 4 0,-2 1 0 0,0 1 4 0,-1-1 0 0,-1 1 0 16,-2 0 0-16,-1 0 8 0,-3 0 0 0,0 2 0 0,-2-1 0 0,-3 1 0 15,-2-1 0-15,-1 0 8 0,-2 2-4 0,-2-2-4 0,-2 2 4 0,-2-2-4 0,-3 1 4 16,-1 0-8-16,-1 1 0 0,-4-1 4 0,0 1-4 0,-2-2-4 0,-1 2 4 16,-2 0-4-16,-2-2 0 0,1 2 0 0,-3-1-4 0,-1 0 0 0,-1 0 4 15,-1 0-4-15,-1-1-4 0,-1 0 0 0,-1-1 4 0,0 0-4 0,-2 0 0 16,1-2 0-16,-1 1-4 0,0-2 0 0,-1 0 0 0,1 0 4 0,-1-2 0 0,1 0-4 15,0-1 0-15,2 1 0 0,0-2-4 0,1 0 0 0,1-2 0 0,3 0 0 16,0 0-4-16,1-2 0 0,1 0-4 0,1 0-8 0,2-1-8 0,0-1-8 0,4-1-8 16,-1 0-4-16,3-2-4 0,0 0-4 0,3 0-20 0,0-1-32 15,3-2 8-15,1 0 8 0,2-1 12 0,1 0 8 0,1 0 8 0,0-1 8 0</inkml:trace>
  <inkml:trace contextRef="#ctx0" brushRef="#br0" timeOffset="52452.0001">4088 7682 19 0,'1'-3'28'0,"0"0"0"0,0 1-4 0,0-1 0 0,-1 1 0 15,0 1-4-15,1-1 0 0,0 0 0 0,-1 1-4 0,1-1 0 0,-1 1 4 0,-1 0-4 16,1 0 0-16,0 1-4 0,-1 0 4 0,1 0 0 0,0 1 0 0,-1 1-4 15,1 0 4-15,0 1-4 0,0 0 0 0,0 2 0 0,0-2 0 0,0 2 0 0,0-1-4 16,-1 3 0-16,0-1 0 0,1 1 0 0,-1 0 0 0,0 0 0 0,0 1 0 16,1-1 0-16,-1 2 0 0,0 0-4 0,0-1 0 0,0 2 0 0,1-2 0 15,-1 2 4-15,0-1-4 0,1 1 0 0,-1-1 0 0,1 0 0 0,-1 0-4 16,1 1 0-16,0-2 0 0,0 0 0 0,0 0 0 0,0 0-4 0,0-2 4 0,2 1 0 15,-1-1 0-15,0-1 0 0,0 0 0 0,1 0 0 0,0-2-4 0,1 1 4 16,-1-1-4-16,1 0 4 0,1-3-8 0,0 2 0 0,-1-1-4 0,2-1-8 0,-1 0-12 16,0 0-8-16,0-1-24 0,0-1-16 0,0 2 4 0,-1-3 8 15,1 1 8-15,1-1 4 0</inkml:trace>
  <inkml:trace contextRef="#ctx0" brushRef="#br0" timeOffset="52769.0182">4451 7418 3 0,'4'0'24'0,"1"-1"0"16,-1 0 4-16,0 1 0 15,0 1-4-15,0 0 0 0,1 2 0 0,-1 0 0 0,-1 0 0 0,1 1 0 0,-2 1-4 0,2 1 4 0,-2 1-4 0,1 1 0 0,1 0 4 16,0 2-4-16,-1 0 0 0,1 1 0 0,0 0 0 0,0 2 0 0,-1 0-4 0,1 0 0 16,-1 0 0-16,2 2 0 0,-1-1 0 0,-1 0 4 0,0 1 0 15,0 0-16-15,-1 0 12 0,1-1-4 0,-1 2 4 0,1-2-8 0,-2 1 4 0,2-1-8 16,-2-2 0-16,2 1 8 0,-2-1-8 0,0 0 0 0,0-2 4 0,0 0-8 15,1-1 4-15,-2-1-4 0,1 0-4 0,-1-1 0 0,0-1 8 0,0 0-4 0,0-1-4 16,1 0 4-16,-1-1 4 0,1 0-4 0,-1-1 0 0,1 0 4 0,0-1-4 16,-1-1-12-16,1 1-12 0,0-1-16 0,1-1-24 0,-1 0-32 0,-1 0 0 15,1-1 8-15,1-1 8 0,-1 1 12 0,-1-1 4 0</inkml:trace>
  <inkml:trace contextRef="#ctx0" brushRef="#br0" timeOffset="54121.0955">21389 3711 27 0,'-1'-4'24'0,"0"2"-8"15,0-1 4-15,-2 0-4 0,3 0 0 0,-1 2 0 0,0-1 0 0,0 1-8 16,1-2 4-16,-1 2 0 0,1 1-4 0,2 0 0 0,-1 0 0 0,1 1 0 0,2 1 0 16,0 0 0-16,0 1 0 0,1 1-4 0,0 0 4 0,1 0 0 0,2 1 0 15,-1 1 0-15,1-1 0 0,1 1 0 0,1 1 0 0,0 0 0 0,0 0 0 16,2 1 0-16,-2-1 0 0,3 1 4 0,-1 2-4 0,0-3 4 0,2 2-4 0,-1 1 0 15,1-2 0-15,0 2 0 0,0 0-4 0,0 0 4 0,-1-1 4 0,1 1 0 16,-1 0 0-16,1 0-4 0,-1-1 0 0,1 1 0 0,-3 0 0 0,1-1 0 16,0 1 0-16,0-2 0 0,-1 2 0 0,-1 0 0 0,0-1 0 0,1 0 0 15,-2 0 0-15,-1 0-4 0,0 1 4 0,1-1 4 0,-1-1-4 0,-1 0-8 0,0 1 4 16,1-2-4-16,-2 1 4 0,-1 0 0 0,1-1-4 0,-1 0 4 0,1 0 0 15,-2-2 0-15,0 2 0 0,0-2 0 0,0 0 4 0,-1 0-8 0,-1-2 8 0,1 1-4 16,-1 0 4-16,0 0 0 0,-1-2 0 0,2 1 0 0,-2-2-4 0,0 1 0 16,0-1-4-16,-1 0 8 0,1 1-12 0,-1-2 8 0,-1 0 0 0,1 0-4 15,0 0 0-15,-2-2-4 0,1 2-4 0,-2-2 0 0,2 2-8 0,-1-2-8 16,0 1-12-16,-1-1-12 0,1 1-32 0,-1-1-16 0,-1 0 8 0,1 1 8 0,0-1 12 15,-1 1 4-15</inkml:trace>
  <inkml:trace contextRef="#ctx0" brushRef="#br0" timeOffset="62251.5606">21360 3184 3 0,'0'0'12'0,"0"0"4"0,1 0 4 0,-1 0 0 0,0 0-4 15,0-2 0-15,0 2 0 0,0 0 0 0,0 0 0 0,0 0-4 0,0 0 0 16,0 0 0-16,0 0 0 0,0 0 0 0,-1 0-4 0,1 0 0 0,0 0 0 16,0 0-12-16,0 0 16 0,0 0-4 0,0 0 0 0,0 0 0 0,0 0 0 15,0 0 0-15,0 0 0 0,0 0-4 0,0 0 0 0,0 0 0 0,0 0 0 0,0 0 0 16,0 2 4-16,0-2-4 0,0 1 0 0,0 1 0 0,-1-1 0 0,0 0 0 15,1 2 0-15,-1-1 4 0,0 0-4 0,1 1 0 0,-1 0 4 0,-1 1-4 0,1 0 4 16,-1 0-4-16,2 2-4 0,-2-1 4 0,1 1-4 0,0 0 4 16,0 1 0-16,-1-1-4 0,1 2 4 0,0 0-4 0,-1-1 4 0,0 1-4 0,2 2 4 15,-2-2-4-15,0 1 0 0,1 0 0 0,0-1 0 0,0 1 4 0,-1 1 0 16,1-3 0-16,1 3 0 0,0-1-4 0,-2-1 4 0,2 2-4 0,-1-2 4 0,-1 0-4 15,2 0 4-15,0 0-4 0,0 0 4 0,0-1-4 0,0 1 0 0,-1-2 0 16,1 1 0-16,0-1 0 0,0-1 0 0,0 2 0 0,0-3 0 0,0 2 0 16,0-1-4-16,0-1 4 0,0 1 0 0,0-2 0 0,0 2 0 0,0-2 0 0,0 1-4 15,0 0 4-15,0-1 0 0,0 0-4 0,0 0 0 0,-1-1 0 0,2 1 0 16,-2 0-4-16,1-1 0 0,0 0 0 0,0 0 0 0,0-1 0 0,0 1 0 0,0-2-4 15,1 2 4-15,-1-2-8 0,1 0-20 0,1 0-12 0,0-2-20 0,-1 0 4 16,2 1 4-16,-1-1 8 0</inkml:trace>
  <inkml:trace contextRef="#ctx0" brushRef="#br0" timeOffset="62573.579">21649 3267 23 0,'1'8'16'0,"-1"1"12"15,0 0-4-15,0 0 0 0,0 1 0 0,1 0-4 0,-1 0-4 0,0 2 4 0,0-2-4 16,1 0 0-16,-1 2-4 0,0-1 0 0,0 0 0 0,0-1 0 0,0 1 4 15,0-2-4-15,0 1-4 0,0 1 4 0,-1-1-4 0,1-2 4 0,-1 1-4 0,1-1 0 16,0 0 4-16,-1-1-4 0,1 0 0 0,-1 0 0 0,0-2 0 0,0 1 0 16,1-2 0-16,0 2 0 0,-1-2-4 0,1-1 0 0,-1 1 0 0,1-1 0 15,-1-1 0-15,1 1-4 0,-1-1 0 0,1 0 4 0,0-1 0 0,-1 0-4 16,1 0 0-16,0 0 0 0,0-1-4 0,0 1 0 0,0-1 4 0,0 1-4 0,0-1 0 15,0 0 0-15,0 0-4 0,0 0 0 0,0 0-8 0,0 0 0 0,0-1-20 16,0 0-16-16,0 0-16 0,0-1-4 0,0 1 8 0,0-1 4 0</inkml:trace>
  <inkml:trace contextRef="#ctx0" brushRef="#br0" timeOffset="62876.5964">21931 3464 11 0,'0'0'20'0,"0"0"4"0,0 0 0 0,0-1-4 0,0 1-4 0,-1-1 4 16,0 1-8-16,0-1 8 0,1 1-4 0,-1 1 0 0,0-1-4 0,1 0 4 0,0 2-4 15,-1 0 0-15,1-1 4 0,-1 0-4 0,0 2 0 0,0-1 4 0,0 0-4 16,-1 0-4-16,0 2 0 0,1-1 4 0,-2 0-4 0,2 1 4 0,-4-1-4 16,3 2 0-16,-1-1 0 0,-1 0-4 0,1 1 0 0,-1 0 4 0,0-1 0 0,0 2-4 15,0-1-4-15,-2 1 0 0,2-1 0 0,0 1 4 0,0 0-4 0,-1 0-4 16,1-1 0-16,-2 0 0 0,2-1 0 0,0 2-4 0,1-2 4 0,0 2 0 0,-1-2-4 15,1 0 0-15,2 1-4 0,-2-2-4 0,1 1-8 0,2-1-24 0,-1-1-28 16,1 0 8-16,1-1 4 0,-1 1 8 0</inkml:trace>
  <inkml:trace contextRef="#ctx0" brushRef="#br0" timeOffset="63572.6362">22406 3419 7 0,'7'6'20'15,"-1"0"8"-15,1 1-4 0,0-1-4 0,-1 0 0 0,0 1 0 0,0 0 0 16,-2 0 0-16,1 0-4 0,1 0 4 0,-2 0-4 0,0 0 4 0,0 0-4 0,-1 0 0 15,-1-2 0-15,0 2 0 0,0-1 0 0,-1 1 0 0,-1 0-4 0,-1-2 0 16,0 2-4-16,-2-1 0 0,1-1 0 0,0 0 0 0,-3 0 0 0,1 1 0 16,-1-2 0-16,0 1 0 0,-1-2 0 0,0 2 0 0,0 0 0 0,0-2-4 15,-1 1 0-15,1-1 4 0,0 0 0 0,-1 1 0 0,1-2 0 0,0 1 4 0,0 0 4 16,0 0 4-16,1-1-4 0,0 0 0 0,0-1-4 0,-1 1 0 0,2-2-8 15,0 1 4-15,0-1 4 0,2 0-4 0,-1-1 0 0,3-1-4 0,-1 1 4 0,1-1-16 16,0 0 16-16,1-2 0 0,1 0-4 0,1 0-4 0,0-1-4 0,0 0-4 16,2-1 4-16,0 0 12 0,1-1-4 0,0 1-4 0,0-3 4 0,1 1-4 15,1 0 4-15,-1-1 0 0,2-1 0 0,-1 1 0 0,1-2-4 0,0 1-8 0,0-2 8 16,0 2 4-16,2 0-4 0,-2-2 0 0,1 2 4 0,0-3 0 0,-1 4-4 15,0-3 4-15,0 3 0 0,0-3-4 0,-2 2 16 0,1 0-4 0,0 1-4 0,-1 0 4 16,-1 1 8-16,-1-1-8 0,0 1 12 0,0 1-4 0,-2 0-8 16,1 0 8-16,-3 1 4 0,0 0-4 0,0 1 0 0,-2 0-4 0,-1 0 0 0,1 0-4 15,-2 1 0-15,-1 0 4 0,-1 0-4 0,0 1-4 0,0-1 0 0,-2 1 0 16,0 1 0-16,-3-1-4 0,1 1 0 0,0 0 0 0,-1 0 0 0,-1 0 0 0,0 0-4 15,-1 1 4-15,0 0 0 0,1 0 0 0,-2-1-4 0,1 2 0 0,0 0 0 16,-1-1-4-16,2 1 4 0,-2 0 0 0,2 0 0 0,-2 0-4 0,3 0 4 16,0 0-4-16,-2 1 0 0,3-1 0 0,0 0 0 0,0 2-4 0,1-1 0 0,0-1 4 15,1 2-4-15,0 0-8 0,0-1-4 0,2 1 0 0,0-1-4 0,2 1-8 16,0 0 4-16,0 0-12 0,1 1-4 0,-1 0-8 0,2-1 0 0,0 0-12 0,1 1-12 15,0-1-28-15,0 1 8 0,0 0 12 0,1 0 8 0,2-1 4 0,-2 1 8 16</inkml:trace>
  <inkml:trace contextRef="#ctx0" brushRef="#br0" timeOffset="68003.8896">11869 8546 7 0,'-7'-1'28'0,"1"-1"0"0,0 1-4 16,0 1 0-16,1-2 0 0,-2 1-8 0,2 1 0 0,0-2 4 0,1 2 0 0,-1-2-4 15,1 1 0-15,-2 0 0 0,3 0-4 0,0 0 4 0,0 0-4 0,0 0 0 16,1 1 0-16,0 0-4 0,0-1 4 0,2 1-4 0,-1 0-4 0,1 0 4 0,0 0 4 16,1 0 0-16,-1 0 4 0,2 0 0 0,0-1 0 0,1 1 0 0,-1-1 4 15,2 1-4-15,1-1 0 0,0 0 0 0,0-1 4 0,1 1-8 0,1 0 0 16,-1 0 4-16,3-1 0 0,-2 2-4 0,1-2 0 0,0 1 0 0,2-1 0 15,0 0 0-15,0 2-4 0,1-2-8 0,-1 1 0 0,0 0 4 0,3-1 4 0,-2 2-12 16,2-1 12-16,-2 0-12 0,1 0 4 0,0 0 0 0,0 0 4 0,-1 1 0 16,2-1 0-16,-3 0 0 0,2 1 0 0,-1 0-8 0,-2 0 8 0,1 0-4 0,-1 1 0 15,-1-1-4-15,-1 1 4 0,2 0 4 0,-3-1 4 0,0 1-8 0,0 0 12 16,-2 0 0-16,1 0-8 0,0 1 0 0,-1-1 4 0,-2 2 0 0,1-2-4 15,-2 2 4-15,1 0 4 0,-1 1-4 0,-1 0-4 0,-1 1 12 0,0 1-8 0,0 0 0 16,-1 1 8-16,-1 0-8 0,1 1 4 0,-1 0 0 0,0 1-4 0,-2 0 0 16,2 1-4-16,-1 0 0 0,0 1 4 0,0 0-4 0,0 0 4 0,0 0-4 15,-1 1 0-15,1 0 0 0,0 0 0 0,0 1 0 0,0 0 0 0,0-1-4 16,-1 2 4-16,1-3 0 0,0 1-4 0,1 0 0 0,0 1 4 0,-1-2-4 0,2 0 0 15,-1-1 0-15,2 1 0 0,-2-1 4 0,2-1-4 0,0 0 0 0,0-1 4 16,0 0-4-16,0 0 0 0,1 0-4 0,0-1 4 0,-1 0 0 0,1-1-4 0,-1 0 4 16,1 0-4-16,0 0 4 0,0-2-4 0,0 1-4 0,1-1 4 0,-1 1 4 15,1-1-16-15,0-1-16 0,0 1 0 0,0-1-12 0,0-1-8 0,1-1-4 16,0 1-12-16,-1-1-28 0,1 0-8 0,0-1 12 0,-1 0 8 0,2-1 8 15,-2 1 8-15,0-1 8 0</inkml:trace>
  <inkml:trace contextRef="#ctx0" brushRef="#br0" timeOffset="68502.9181">11890 9061 19 0,'-8'-1'28'0,"0"1"0"0,-2-2 0 0,1 0-4 0,0 0-4 0,-1-1 0 16,1 1-4-16,-1-3 4 0,-2 3-8 0,1-3 4 0,1 0-4 0,-3-1-4 0,2 1 4 15,-1-1-4-15,-1 1 4 0,2-3-4 0,-3 1 0 0,2 0 0 0,1 0 0 16,-3 0-4-16,3-1 0 0,-2 0 4 0,2-1-8 0,-1-1 4 0,1 0 0 0,0 0-4 16,1-2 4-16,0 1 0 0,1-2-4 0,2 0 4 0,-2-1 0 0,4 0 0 15,0-2-4-15,1 1 0 0,1-2 0 0,2-2 0 0,1 1 4 0,1-2 0 16,2-1 0-16,2-1 0 0,0-1-16 0,4-1 16 0,0-1 0 0,1 1 0 15,3-2 0-15,0 0-4 0,2 0 4 0,0 1-4 0,4-1 0 0,-2 0 0 0,3 2 4 16,0-1-4-16,1 1 4 0,2 1-4 0,0 1 0 0,0 0 0 0,1 2 0 16,2 1 4-16,-1 0 0 0,2 2-4 0,-1 2 4 0,0 0-4 0,2 2 0 0,0 2 0 15,0 2 0-15,0 2 0 0,0 2 4 0,0 1 0 0,0 4-4 16,-2 0 4-16,1 3 0 0,-1 3 0 0,-1 0 0 0,1 1 0 0,-2 3 0 0,0 1 0 15,-1 0 0-15,0 1 0 0,0 1 0 0,-3 2 0 0,2-1 8 0,-2 3-4 16,-2-2 0-16,1 3 0 0,-3 0 4 0,0-1 4 0,-1 2-8 0,-3 0 0 0,-1 0 4 16,0 1 0-16,-3 0 0 0,-1 0 4 0,-2 1 0 0,-2-1 0 0,1 0-8 15,-4 0 12-15,0 1-12 0,-3-2 8 0,0 1-4 0,-2-1 4 0,-1 1-4 16,-1-2 0-16,-2 1-4 0,-1-1 0 0,-1 1 0 0,-2-1-4 0,0 0 4 0,-2 0-4 15,0-2-4-15,-2 2 8 0,1-2 0 0,-2 0 4 0,0 0-4 0,0-1-4 16,-1-2-4-16,-1 2 4 0,0-3 0 0,0 1 0 0,0-1-4 0,-1-1 4 16,1-1-4-16,-1 0-8 0,-1-1 8 0,2-1 0 0,-2 0 0 0,0-1 0 0,0-1 0 15,1-1 0-15,0 0 0 0,-1-1 0 0,3-1-4 0,-2-1-8 0,0-2-4 16,3 0 0-16,-2-2-8 0,2 1-8 0,0-2 0 0,0-1 0 0,2 0-4 15,-2-1 4-15,3 0 0 0,-2-1 0 0,2-1 0 0,-1-1-4 0,2 1-12 0,-2 0-12 16,2-2-16-16,-1 2 0 0,1-3 8 0,-1 2 8 0,2-2 12 0</inkml:trace>
  <inkml:trace contextRef="#ctx0" brushRef="#br0" timeOffset="69181.957">9982 8124 27 0,'-5'1'36'0,"0"1"-4"0,0-2 0 0,0 2 0 0,-2-1 0 0,2 0 4 16,0 0-8-16,0-1 4 0,0 0 0 0,1 0-4 0,-2 0 0 0,2 0-4 0,-1 0-4 16,1 0 0-16,0 0-4 0,1 0 4 0,1 0-8 0,-1 0 0 0,1 0 0 15,2 0-4-15,-2-1 0 0,2-1 0 0,0 0 4 0,2 0-8 0,-1 1 4 16,2-3 0-16,0 1 4 0,0-1-4 0,2 0-4 0,0-1-4 0,1 2 4 0,1-3 0 15,1 0 0-15,0 0 4 0,0 0-4 0,2 0 0 0,0 0 0 0,0-1 0 16,1 0-8-16,0-1 12 0,0 1-8 0,1-1 8 0,1 0 0 0,-1 0-4 0,0 0 0 16,1-1-4-16,1 0-8 0,-2 2 8 0,1-1 0 0,0 0-4 0,0-1 4 15,-1 2 0-15,0 0 8 0,1 0-8 0,-1 1 0 0,0-1 8 0,-1 1 0 16,-1 0-8-16,2 0 0 0,-3 1 0 0,1 0 0 0,-2 1 4 0,1-1-8 15,-2 1 4-15,1 1 8 0,-2-1-4 0,2 2-4 0,-2-1-4 0,-2 0 0 0,1 0 8 16,0 1-4-16,-1 0 0 0,1-1 4 0,-2 3 0 0,0-2 0 0,1 1 0 16,-3 0 0-16,2 0 0 0,-2 0-8 0,0 1-4 0,1 0 0 0,-1 0 4 0,-1 1 8 15,0 0-4-15,0 0 0 0,0 0-4 0,0 1-4 0,0-2 0 16,0 3-4-16,0-2-4 0,0 1-12 0,0 0-8 0,1 0-12 0,0 0-40 0,0-1-4 15,1 1 8-15,2-1 8 0,-1-1 8 0,0 1 4 0</inkml:trace>
  <inkml:trace contextRef="#ctx0" brushRef="#br0" timeOffset="69664.9846">11370 7846 3 0,'8'7'36'0,"1"-1"-4"0,-1 2 0 0,1 0 0 15,1 0-4-15,0 1-4 0,-1-1 0 0,1 1 0 0,1 1-4 0,-1-1 0 0,1 1 0 16,-1 0 0-16,0 0 0 0,1 0 0 0,-1-1-4 0,0 3 0 0,1-2-4 15,-2-2 4-15,0 2 0 0,1-1 0 0,-2 1-4 0,0-1-4 0,-1-1 4 0,2 2-4 16,-3-3 4-16,0 0-4 0,0 1-4 0,-1-1 4 0,1-1 0 0,-1 0-4 16,-1 0 4-16,0-1-8 0,1 1 4 0,-2-2 0 0,-1 1-4 0,3-1 4 15,-3 0 0-15,0 0 4 0,0-1-8 0,0-1 0 0,-1 2 0 0,0-2 8 16,0-1-8-16,0 2 0 0,-1-2 0 0,1 0-4 0,0-1 4 0,-1 0-4 0,0 0-4 15,0 0-8-15,0-1-8 0,0-1-8 0,0 0-12 0,-1-1-12 0,0 1-20 16,-1-1-4-16,1-1 8 0,-1 0 4 0,0 1 12 0</inkml:trace>
  <inkml:trace contextRef="#ctx0" brushRef="#br0" timeOffset="73136.1832">10700 7857 27 0,'-1'0'36'0,"-3"-1"-4"0,2 1-4 16,-1-2-4-16,1 2-4 0,-1 0 0 0,0 0 0 0,0-1 0 0,-1 0-4 0,1 0 0 16,-1-1 0-16,-1 0-4 0,1 1 0 0,0 0 0 0,-1-2 0 15,1 3-4-15,-1-3 4 0,0 2-4 0,0-1 4 0,0-1 0 0,-1 2-4 0,0-1 0 16,1 0 0-16,-3-1 0 0,2 2 0 0,-2-2 0 0,1 1 0 0,-1-2 0 15,-1 2 0-15,1-1 0 0,0 1 4 0,-1-2-4 0,0 2 0 0,0-1 0 0,-1 0 0 16,1 0-4-16,-1-1 0 0,0 1-4 0,1-1 8 0,0 0 0 0,-1 0-4 16,0 0 0-16,1 0 0 0,0-1 4 0,-1 0-4 0,1 1 0 0,1-2 0 15,-1 2 4-15,1-3-8 0,1 1 0 0,-1-1 0 0,2 2 4 0,-2-3-4 0,3 0 4 16,0 0-4-16,1 0 4 0,0-2 4 0,0 1-4 0,1-1-4 0,0 0 0 15,2-2 0-15,1 0 0 0,0-1 0 0,0 0 0 0,1 0 0 0,2-1 0 0,1 1 0 16,0-3 0-16,1 1 0 0,1-1-4 0,1 0 4 0,2 0 0 0,0 0 0 16,1 0-4-16,3-1 4 0,-1-1 0 0,1 1 0 0,2-1 0 0,0 0 4 15,1 1-8-15,1-1 4 0,1 2 0 0,1-2 0 0,0 0 0 0,1 0 0 16,1 2 0-16,0-2 4 0,1 2-8 0,1 0 8 0,0 0-8 0,0 2 4 0,2-2-4 15,0 2 4-15,-1 0 0 0,0 1-4 0,2-1 4 0,-1 3 0 0,1-2 0 16,-1 2 0-16,1 0 0 0,-1 0 0 0,2 1-4 0,-1 1 4 0,0 1 0 0,2-1 0 16,0 2 0-16,0 1 0 0,0-1 0 0,0 2-4 0,-1 2 4 15,1-1-4-15,0 1 4 0,0 2 0 0,0 1 0 0,-1 0 0 0,0 0-4 0,0 2 8 16,-2 0 0-16,1 2-8 0,-1 0 4 0,0 2 0 0,-1 1 4 0,-1 0 0 15,-1 1-8-15,1 0 4 0,-2 1 4 0,-1 2 0 0,-1-1-4 0,-1 1 4 0,-1 1 0 16,0 1-4-16,-3 0 4 0,-1 0 0 0,-1 1-4 0,-1 0 4 0,0 1-4 16,-3 2-4-16,-1-3 4 0,-1 2-4 0,0 1 8 0,0 0 0 0,-3-1 0 15,-1 2 0-15,1-1 0 0,-2 2 4 0,-1-2-4 0,0 1-4 0,-1 1-4 16,-2-1 0-16,1 1 12 0,-1-1 0 0,-2 1-4 0,0-1 4 0,-2 0-8 0,1 2 4 15,-2-3 4-15,-2 1-4 0,1 2 0 0,-2-2 0 0,-2 0-12 0,0 1 8 16,-2-1 4-16,0 1 0 0,-4-1-12 0,1 1 4 0,-1 0 12 0,-3-1-12 0,2 0 8 16,-3-1-4-16,0 0 4 0,0 0 0 0,0-2 0 0,-2 1-4 15,1-1 4-15,-1 0 0 0,0-2 0 0,1 1 0 0,-1-2-8 0,0 0 8 0,-1-2 0 16,2 2-8-16,0-2 8 0,-1-1-4 0,1-1 0 0,0 0 0 0,2-1 4 15,-1-2-4-15,1 1 0 0,0-3-4 0,3 0 8 0,0-2-4 0,1 0 0 0,0-1 0 16,1-1 0-16,0-1-8 0,2-1 4 0,0 0 0 0,-1-2 0 0,2 0-4 16,-1-2 0-16,1 1-4 0,1-2-4 0,-1 0-4 0,2-1-4 0,-1 1-12 15,0-2-4-15,0 0-16 0,2 0-24 0,-1 0-8 0,0-1 8 0,0 0 12 0,2 1 8 16,-1-1 4-16</inkml:trace>
  <inkml:trace contextRef="#ctx0" brushRef="#br0" timeOffset="73662.2131">9616 7545 11 0,'1'-1'28'0,"-2"0"-4"0,1 1 0 0,0 2-4 0,-1-1 4 0,0 2-4 15,-1 0-4-15,1 1 4 0,-1-1-4 0,0 2 0 0,0 1-4 0,0-1 4 16,0 2 0-16,-1 0-4 0,2 1-4 0,-1 1 4 0,1-1-4 0,-1 2 4 0,0-2-4 16,0 2 4-16,0 1-4 0,0 0 0 0,1 0 0 0,-1-1-4 15,0 1 4-15,1 0-4 0,-1-1 0 0,1 1 4 0,0 0-8 0,-1-1 0 0,0 0 4 16,2 0 0-16,-1-1-4 0,0-1 0 0,0 1 0 0,0-1 4 0,1-1-4 15,0 0-4-15,-1 0 4 0,1-1 0 0,0-1 0 0,1 0 0 0,-1 0-4 0,0-1 4 16,1 0 0-16,0-1-4 0,1 0 4 0,-1-1-4 0,1 1-4 0,0-3-12 16,1 1-8-16,0-1-20 0,0-1-24 0,0 1 4 0,1-2 4 0,-1-1 8 15</inkml:trace>
  <inkml:trace contextRef="#ctx0" brushRef="#br0" timeOffset="74102.2384">9996 7357 23 0,'3'1'36'0,"0"2"0"0,-1 0-4 0,-1 1-4 0,0 2 0 16,0-2-4-16,-1 3 0 0,-1-1-4 0,0 2 0 0,1 1-4 0,-2 0 0 15,1 1 0-15,0 1 0 0,1-1 0 0,0 1-4 0,0 1 0 0,-1 0 0 0,1 0 0 16,1 0 0-16,-1 0-4 0,0 0 0 0,1 0 0 0,0 1 0 0,1-2 0 16,-1 0-4-16,1 0-4 0,0 0 8 0,2-1-4 0,-1 0 0 0,0-1 0 15,2 1 0-15,0-3 0 0,-1 1 0 0,2-1 0 0,-1 1 0 0,2-2 0 16,-2 0 0-16,1-1-4 0,0 1 0 0,0-1 0 0,-1 0 0 0,2-1 4 0,-1 0 0 15,0 0-4-15,-1 0 4 0,1-1-4 0,0 1 0 0,-1-1 0 0,0 0 0 16,0 0 4-16,-1-1 0 0,0 2 4 0,-1-2-8 0,1 1 4 0,-1 1 4 0,-1-1-4 16,0-1 0-16,0 1 0 0,-2 1 8 0,0-1-8 0,0 0-4 15,-1 1 8-15,0-1 0 0,-1 1 0 0,0 1-4 0,-1-2 0 0,0 1-8 0,0 1 8 16,-1-1-4-16,0 0 0 0,0 1 0 0,0 0 0 0,0-1 4 0,-1 1-4 15,0-1 4-15,0 1-4 0,0-1-4 0,0 1 8 0,0 0-4 0,0-1 0 0,-1 0 4 16,0 0-4-16,0-1 4 0,1 1 0 0,0-1-8 0,0 0 8 0,-2-2-4 16,2 2 0-16,0-3 0 0,-1 1-4 0,2 0 4 0,-2-1 0 0,1-1-4 15,1 0 4-15,-1-1 0 0,1 0-8 0,-1-1 4 0,1 0-4 0,0-2 0 0,0 0 0 16,1 2-4-16,-1-3 0 0,1-1-8 0,0 0-8 0,0 0 0 0,1-2-12 15,0-2-8-15,-1 2-20 0,0-3-8 0,2 1 8 0,-1-2 4 0,1 1 8 0,1-1 8 16</inkml:trace>
  <inkml:trace contextRef="#ctx0" brushRef="#br0" timeOffset="74292.2493">10120 7354 7 0,'7'0'20'0,"-1"-1"0"16,1 1 4-16,0-1-4 0,0 1 4 0,-1 0-4 0,0-1-4 0,0 0-4 15,1 0 0-15,-2 1-4 0,1 0 4 0,-1-2 0 0,0 2-4 0,-1-1 0 0,2 0 0 16,-3 1 0-16,1 0-4 0,0-1 0 0,-2 1 0 0,0-1 0 0,1 2-4 16,-1-1 0-16,-1 1 0 0,0-1-8 0,-1 2-28 0,0 0-28 0,-1 0 4 15,0 0 4-15</inkml:trace>
  <inkml:trace contextRef="#ctx0" brushRef="#br0" timeOffset="76400.3699">22176 3835 19 0,'-6'-1'36'0,"-1"-2"0"0,0 1-4 0,0 0 0 16,0-2-4-16,1 2 4 0,0-1 0 0,1 1-4 0,-2-1 0 0,3 1 0 16,-1-2 0-16,0 2 0 0,1-1-4 0,-1 1 0 0,0 0 0 0,2-1 0 15,0 0 0-15,0 2-12 0,-1-2 4 0,2 1 0 0,-1 1-4 0,1 0-4 16,0-1 0-16,1 1-4 0,-1 1 0 0,1 0 4 0,0 0-4 0,1 0 4 0,1 3 0 15,0-2-4-15,1 2 0 0,0 0 0 0,1 2-8 0,1-1 4 0,0 2 0 16,0-1 8-16,1 1 0 0,1 2-4 0,0-1-4 0,0 1 8 0,1 1-4 0,1-1 0 16,0 2 0-16,0 0-8 0,0 0 0 0,2 1 4 0,-1 0 0 0,1 1-4 15,2 1 12-15,-1-1-4 0,-1 2 0 0,3-1-4 0,-2 1 8 0,1-1-4 16,1 1 0-16,-1 0-8 0,2-1 4 0,-3 0 0 0,1 1 4 0,2-1 0 0,-3-1 0 15,2 0 0-15,-2 0 0 0,0 0 0 0,0 0 0 0,0-1-8 0,-1-1 8 16,1-1-8-16,-2 1 16 0,0 0-12 0,1-2 0 0,-2 0 4 0,-1-1-4 0,1 1 8 16,0-1-8-16,-2-1 8 0,-1-1-4 0,1 0-4 0,-2 0 4 15,1-1 8-15,-1-1-4 0,0 1 0 0,-2-1 0 0,1-1-4 0,-2-1 4 0,1 1 0 16,0 0 0-16,-2-1 4 0,1 0 0 0,0 0-8 0,-1-1 0 0,0 0-4 15,0 0 0-15,0 0 8 0,-1-1-4 0,0 0-4 0,1 0 4 0,-1-1-8 0,0 1-4 16,-1-1 8-16,1 0-4 0,1-1-12 0,-2 1 0 0,1-1-12 0,1-1-16 16,-1 0-12-16,1-1-12 0,0-1-32 0,0 1-4 0,0 0 8 0,0-2 12 15,0 1 8-15,1-1 8 0,0 0 8 0</inkml:trace>
  <inkml:trace contextRef="#ctx0" brushRef="#br0" timeOffset="76865.3964">22381 3230 3 0,'-1'-2'4'0,"-1"2"-4"0,1 0 4 0,1 0 0 15,-1 0 4-15,1 2 0 0,0-2-4 0,0 1 0 0,-1-1-4 0,1 1 8 0,0-1-8 16,-1 2 4-16,1-2-4 0,0 0 0 0,-1 1-4 0,1 0 4 0,0 0 0 16,0-1-4-16,-1 1 4 0,1-1 0 0,0 1-4 0,0-1-4 0,0 2 4 15,0-2-12-15</inkml:trace>
  <inkml:trace contextRef="#ctx0" brushRef="#br0" timeOffset="77204.4157">22254 3281 31 0,'-3'0'32'0,"1"0"-4"0,-1 0-4 0,1 0 0 16,0 0-4-16,1 0-4 0,0-1 0 0,0 1 0 0,-1 0-4 0,1 0 0 0,0 0-4 16,1 0 4-16,1 0-4 0,-1 1 0 0,1 0 0 0,1 1 0 15,-1-1 0-15,1 2-4 0,0 0 4 0,0 0 0 0,2 1 0 0,0 0 0 0,1 1 0 16,0 0 0-16,1 1-4 0,1 1 0 0,1 0 4 0,0 0-4 0,1 0 4 15,2 3 0-15,-1-2 0 0,1 2-4 0,3 0 0 0,-2 0 0 0,2 1 0 0,0 0 4 16,1 0-4-16,0 1 0 0,2-1 0 0,-1 1 0 0,1 0 0 0,-1 1 4 16,2-2 0-16,-1 0-4 0,0 1 4 0,0-1 0 0,1 0 0 0,-1-1 0 15,0 1 0-15,-1-2 0 0,-1 2 0 0,1-3 4 0,-2 0-4 0,0 1 0 16,-2-2-4-16,0-1 4 0,0 0 0 0,-2 0 4 0,0 1-8 0,-1-3 0 0,-1 1 4 15,-1-2 0-15,0 1-4 0,-1 0-4 0,0-2 4 0,-2 1 8 0,0-1-12 16,-1 1 8-16,0-1 0 0,-1-1 0 0,0 0-4 0,0-1 0 0,-1 1 4 0,1 0-4 16,-2 0 0-16,1 0-8 0,-1-1 4 0,0 0 0 0,0-1-4 0,-1 1 0 15,1-1-4-15,0 0 0 0,-2 0 0 0,0 0-16 0,1 0-12 0,1-1-24 16,-2-1-32-16,1 1-4 0,0 0 8 0,0-1 16 0,1 0 4 0,0 0 8 0</inkml:trace>
  <inkml:trace contextRef="#ctx0" brushRef="#br0" timeOffset="77633.4402">23161 3285 3 0,'1'-4'12'0,"-1"1"0"0,0 1 0 15,0 1 4-15,0 0 4 0,0 1 0 0,-1 1 4 0,1 0-4 0,0 3 0 0,0 0-4 16,0 0 4-16,0 1-4 0,0 1 0 0,0 1 0 0,0 0 0 0,-1 0-4 15,1 1 4-15,0 2-4 0,-1-2 0 0,1 2 0 0,-1 1 0 0,1-1 0 0,-1 1-4 16,0 0 0-16,0 1 4 0,0 0-4 0,0-1 0 0,0 1-4 0,-1-1 4 16,1 1 0-16,0 0 0 0,-1-1-4 0,1 0-4 0,0-1 4 0,1 0 0 15,-1-1-4-15,0 0 0 0,0 0 0 0,-1-1 4 0,2 0-4 0,-1-1 0 16,1 0 0-16,-1 0 4 0,0-1-4 0,1 0 0 0,-1-1 0 0,1 0 0 0,0-1 4 15,0 0-4-15,0-2 0 0,0 2-4 0,0-2 0 0,1 1 4 0,-1-3-4 16,1 3 4-16,0-2-4 0,0 1-12 0,1-2-16 0,-1 0-20 0,1-2-24 16,-2 1 4-16,2 1 4 0,1-3 8 0</inkml:trace>
  <inkml:trace contextRef="#ctx0" brushRef="#br0" timeOffset="78257.4761">23593 3259 7 0,'4'-1'24'0,"-2"1"0"0,2 0 0 0,-3 1 0 16,1-1 0-16,-1 2 0 0,-1 0-4 0,1 1 0 0,-2-1-4 0,1 1 0 0,-1 1-4 15,0-1 4-15,0 3-4 0,0-2 0 0,1 2 0 0,-2 0-4 0,1 1 4 16,0 0-4-16,1 0 0 0,-1 0 0 0,1 2-4 0,0-1 4 0,0 1 0 0,0-1 0 15,0 2 0-15,0-1-4 0,1 1 0 0,0 0 4 0,0 0 0 0,1 0 0 16,-1 0 0-16,1 0-8 0,0-1 8 0,0 2-4 0,0-1 0 0,1 0 4 16,0-2-8-16,0 2 4 0,1-1 4 0,-1 0-4 0,0 0 0 0,2 0 4 15,-1-1-4-15,1 1 4 0,-1 0-4 0,1-1 0 0,-1 0 0 0,1 0 0 0,1 0-4 16,-2 0 4-16,1 0-4 0,-1-1 4 0,1 0-4 0,-1-2 4 0,2 3 4 15,-2-2 0-15,0 0-8 0,0 0 4 0,-1 0 0 0,0 0 0 0,1-2 4 0,-1 1-4 16,-1 0 4-16,3-1 0 0,-4 0 0 0,1 0 0 0,0 0 0 0,-1 0 0 16,0 0 4-16,-1-1-12 0,0 0 12 0,-1 0 4 0,0 0-4 0,-1-1-12 15,-1 0 8-15,1 1-4 0,-2-1 4 0,0 0-4 0,0 0 0 0,0 0-4 0,-1-1 8 16,0 1 0-16,1-1-4 0,-3 1 0 0,1-2 0 0,0 1-8 0,0 0 8 15,-1-1 0-15,-1 0 4 0,0 0 4 0,2-1-8 0,-2 1 4 0,-1-1-16 0,2 0 8 16,-1-1-4-16,0-1 4 0,-1 1 4 0,2-1-8 0,-1-1 4 16,-1 0 0-16,2 0 0 0,0-1 4 0,0 0-4 0,0-1-12 0,0 0 8 0,0-1 12 15,2-1-8-15,0 0 0 0,1 0-8 0,-2-2 8 0,2 1 0 0,1-1 0 16,1 0-4-16,0-1-4 0,0-1 12 0,2 0-12 0,0 0 12 0,0 0-4 0,2-1 0 15,0 0 0-15,0 0 0 0,1 0-12 0,1-2 4 0,1 3 0 0,0-1 4 16,0-1-4-16,1 1 4 0,0 0 8 0,1 1 0 0,0-1 0 0,0 1-8 16,1 2 8-16,0-3 0 0,0 3-4 0,0 0-4 0,0 0 4 0,0 1 0 15,0 1 4-15,0 1 0 0,-1 0-12 0,2 0 0 0,-1 2 12 0,-1 0 0 0,0 1-4 16,1 0 8-16,-1 3-4 0,1-3 0 0,-2 2 0 0,3 1-8 0,-3 0 8 15,1 0 0-15,-1 2-8 0,2-1-4 0,-1 1 4 0,1 0-4 0,-2 1 8 0,2-1 8 16,-1 2-8-16,1-2 0 0,-1 1 0 0,0 0 0 0,2 0 0 0,-1 0 8 16,0 0-8-16,0-1 4 0,1 1 4 0,0-1-8 0,0 0 0 0,1 0-4 15,-2 0 0-15,0 0 8 0,0-1-4 0,1 2 4 0,-1-2-8 0,-1 1 0 0,0 0 0 16,0-1 8-16,0 0-4 0,-1 0 4 0,-1 0-4 0,0 0 4 0,1 0-4 15,-1-1 4-15,-1 0-4 0,-1 1 0 0,1 0-8 0,-2-2 4 0,1 2-8 0,-2-1-12 16,-1 0-12-16,1 1-4 0,-2-1-28 0,0 1-32 0,-1 0 4 16,-1 0 12-16,-1 0 12 0,-1 0 4 0,1-1 8 0</inkml:trace>
  <inkml:trace contextRef="#ctx0" brushRef="#br0" timeOffset="80050.5786">7208 7653 23 0,'-3'-4'32'0,"1"-1"-4"0,-1 0-4 15,-1 0 0-15,0 0 0 0,-2 1-4 0,1-1 4 0,-1 1-4 0,0 0 0 0,-1-1 0 16,-1 2-4-16,0 0 0 0,-1-1 0 0,0 1-4 0,-2 0 4 16,1 2-4-16,0 0 0 0,-1 1 0 0,0 1 4 0,-1 0-8 0,1 3 0 0,0-2 4 15,-2 3-4-15,1-1 0 0,1 1 0 0,-3 1 0 0,3 1 0 0,-2 0-4 16,2 1 4-16,-1 0-4 0,1 1-4 0,0 0 4 0,1 1-4 0,-1 0 4 0,3 0-4 15,0-1 0-15,0 2 4 0,1-1 0 0,1 1-4 0,1 0 4 0,1-1 0 16,0 0-4-16,1 0 0 0,2 1 4 0,1-3 0 0,1 0 0 0,1 1 0 16,2-1 0-16,0-1-4 0,2 0 0 0,0-2 4 0,1 0-4 0,3-1 4 15,-1-1 0-15,2-1-4 0,2 0 0 0,-2-1 0 0,2-1 0 0,1-1 0 0,-1-1 0 16,2 0 0-16,-1 0 0 0,2-1 0 0,-1-1 0 0,0 0 0 0,0 0 0 15,1-1 0-15,-1 0 0 0,0 0 0 0,-1 0 0 0,1 1 4 0,-1-1-4 0,0 1 0 16,-1-1 0-16,0 1 4 0,-1 1-4 0,0 1 4 0,-2-2-4 16,0 3 0-16,-1 0 4 0,1 2-4 0,-3-1 4 0,-1 3 8 0,1 0-4 0,-2 1-4 15,0 0 0-15,-1 2-4 0,-1 1 8 0,-1 2-4 0,0-1 4 0,0 1-8 16,-1 2 4-16,0 0 4 0,-1 1 0 0,0 0-4 0,0 2-8 0,0-2 16 0,-1 4-12 15,0-4-4-15,0 3 0 0,0 1 16 0,1-1 0 0,-2 0-12 0,1-1-4 16,0 2 16-16,0-1 0 0,-1 0-8 0,1-1-4 0,0 1 4 0,0-1 0 16,0-1-8-16,0 0 12 0,0 0-4 0,1-1-4 0,-2-1 0 0,2 1 0 0,-1-3 8 15,1 1-8-15,-1 0-8 0,1-2 4 0,-1 1 4 0,1-2 8 0,-1 0-8 16,1-1 4-16,0-1 4 0,0 0-8 0,0-1 4 0,0 1 4 0,0-2-4 0,0 0-8 15,0-1 0-15,0 0 8 0,0-2-4 0,0-2-12 0,0 2 0 0,0-3-20 16,0 1-8-16,0-1-20 0,0-2-28 0,0 1-4 0,0-1 4 0,-1-1 8 16,0 0 12-16,0 0 4 0,0 0 8 0</inkml:trace>
  <inkml:trace contextRef="#ctx0" brushRef="#br0" timeOffset="80940.6296">6848 8188 35 0,'-5'-3'36'15,"0"-1"-4"-15,0-1-4 0,-1 3-4 0,1-3 0 0,-2 0-4 0,1-1 0 0,0 2 0 16,1-1 0-16,-2-1 0 0,0 1-4 0,2-1 0 0,-2 0 4 0,1 0-4 15,1-1-4-15,-2 1 4 0,1-1-4 0,0 0-4 0,1-1 0 0,0 0 4 0,-1 0-4 16,0-1 0-16,1 0 0 0,0 1-4 0,1-2 4 0,0-1-4 16,1 1 0-16,0-1 4 0,-1 0-4 0,2-2-4 0,1 3 4 0,-1-4 0 0,2 1 0 15,-1 0-4-15,2-1 0 0,1 0 4 0,-1-2 0 0,2 1-4 0,1-1 4 16,0 0-4-16,1 0 0 0,2-2 4 0,-1 0-4 0,3 1 4 0,0-1-4 0,0-2 0 15,3 1 0-15,0 0 4 0,0-1-4 0,3 1 4 0,0-1-4 0,0 2 0 16,2-1 0-16,0-1 0 0,0 2 0 0,2 1 0 0,1-1-4 0,0 2 4 16,0-1 0-16,2 2 0 0,-1-1 0 0,2 1 4 0,-1 2-4 0,1 0 0 15,0 2 0-15,1-2 0 0,-1 3 0 0,1 1 0 0,-1 1 0 0,1 0 0 0,0 2 0 16,0 1 0-16,-2 2 0 0,1 0 0 0,1 2 4 0,-2 1 0 0,0 2-4 15,1 1 0-15,-1 1 4 0,0 1 0 0,-1 0 0 0,1 3 0 0,-1 0 0 0,0 1-4 16,0 1 4-16,-1 2-4 0,0-1 8 0,0 2-8 0,-1 0 4 16,-1 2 0-16,0-1 0 0,-2 2 8 0,1 0-4 0,-2 1-4 0,0 0 0 0,-1 1 4 15,0-2 0-15,-1 2 0 0,-2 0-4 0,-1 1 4 0,0-2-4 0,-3 2 12 16,2-1-8-16,-4 1 4 0,0-2 8 0,-1 1-4 0,-3 0-4 0,0 0-8 0,-1-1 8 15,-2-1 0-15,-1 2 0 0,-2-2 0 0,0 0 0 0,-4 1 0 0,2-2-4 16,-2 1 0-16,-2 0-4 0,-1-2 4 0,0 1 8 0,-1 0-4 0,-1-2 0 16,-1 2-12-16,0-2 0 0,-1 1 8 0,0-2-4 0,-1 2 4 0,0-1 0 15,-2-1-8-15,1-1 0 0,-1 0 0 0,-1 0-4 0,1 0 4 0,-2-1 8 0,0 0-8 16,0 0 8-16,-1-1-12 0,0 1 8 0,-1-2-4 0,0-1 0 0,0 1 0 15,-1 0 4-15,0-3-8 0,1 1 0 0,-1-2 0 0,0 1 0 0,-1-2 8 0,1 0-4 16,0-1 0-16,-1 0 0 0,1 0-8 0,-1-2 4 0,2 0-4 16,0 0 0-16,0-2-12 0,0 0 4 0,1 0-16 0,0-1-4 0,1-1-8 0,2-1-4 15,-1-1 4-15,1 0-12 0,3 0-16 0,-2-3-24 0,3 1 4 0,1-2 12 16,0 0 8-16,2 1 8 0,1-3 8 0</inkml:trace>
  <inkml:trace contextRef="#ctx0" brushRef="#br0" timeOffset="81611.6679">6080 7349 35 0,'-2'0'36'0,"1"0"-4"0,0 0 0 0,0 0-8 16,0 0 0-16,0 0-4 0,0-2-4 0,1 2 0 0,0-1 0 0,-1 1 0 16,0-1-4-16,0-1 4 0,0 0-8 0,1 1 0 0,0-1 4 0,0-1-4 15,0 1 0-15,0-1 0 0,1 1-4 0,1-1 4 0,-1 0 0 0,2-1 0 0,-1 1-4 16,3 0-4-16,-2-1 8 0,1 0-4 0,0 0-4 0,1-1 4 0,1-1 0 15,0 0-4-15,1 1 8 0,0-2-4 0,0 1-4 0,1-1 0 0,1 0 4 0,0 0 0 16,0-1 0-16,1 1 0 0,-1-1-4 0,0 1 0 0,3-1 0 16,-2-1 4-16,1 0 0 0,-1 1-4 0,1-1 0 0,0 1 4 0,0 1 0 0,0-3-4 0,0 2 4 15,-1-2 0-15,1 0 0 0,0 3-4 0,0-2 0 0,-2 0 0 16,0 0 0-16,1 0 4 0,-1 1-4 0,-1 0 4 0,1 0 0 0,-2 0 0 0,0 0 0 15,-1 1-4-15,1 0 4 0,0 0-4 0,-2 1 4 0,0 0-4 0,0 0 4 16,-1 0 0-16,0 2 0 0,2-1-4 0,-3 0 4 0,0 0-4 0,0 1 4 16,0 1 0-16,-1-1 0 0,1 1 0 0,-2 0 0 0,1 0-4 0,0 0 4 15,-1 2 0-15,-1-1 0 0,1 1 0 0,0 0-4 0,0 0 4 0,-1 0 0 0,0 1 0 16,2 0-8-16,-2 0 0 0,0 1 4 0,0-1 0 0,-2 1 0 0,2 1-4 15,0-2 0-15,0 1 0 0,0 0 0 0,0 0-4 0,0 1 0 0,2-1-4 0,-2 0 0 16,1 0-8-16,1 0-4 0,-1-1-28 0,0 2-32 0,1-2 4 16,0 0 8-16,1 0 8 0,-1 0 4 0</inkml:trace>
  <inkml:trace contextRef="#ctx0" brushRef="#br0" timeOffset="82064.6937">7219 6895 7 0,'1'1'28'0,"0"1"4"0,0 1-4 0,1-1 4 0,0 3-4 16,0 0 0-16,0 0 0 0,1 1-4 0,0 1 4 0,-1 0 0 0,2 1 0 15,-1 2-8-15,2-2 0 0,-2 2 0 0,1 1-4 0,1 0 4 0,-1 0-4 16,1 0 4-16,-1 2-8 0,2-1 8 0,-2 2-8 0,1-1 4 0,0 0 0 16,0 0-8-16,0 1 0 0,1 0 0 0,-1-2 0 0,0 1 0 0,0 1 0 0,0-2 4 15,-1-1-4-15,0 1-4 0,1-1 8 0,-1 0 0 0,0-2-12 0,-1 1 8 16,1-2-12-16,-1-1 0 0,-1 1 8 0,1-2 4 0,-1 0 0 0,0-1-12 0,1-1 0 15,-1 1 4-15,-1-2-4 0,0 1 4 0,0-3 4 0,0 2 0 0,0-1 4 16,-1-1-12-16,0 0 0 0,0-1 4 0,0 0 0 0,-1 0-4 0,0-2 4 16,0 1-8-16,0-2-12 0,-1 1-16 0,0-1-16 0,-2 0-24 0,2-2-16 0,-1 2 4 15,-1-3 12-15,0 2 4 0,-1-3 12 0</inkml:trace>
  <inkml:trace contextRef="#ctx0" brushRef="#br0" timeOffset="85183.8723">6673 6957 19 0,'-10'0'32'0,"1"0"0"0,0-1-4 0,-1 1 0 0,0 0 0 0,0-2-4 16,0 2 0-16,-2 0-4 0,2 0 0 0,0-1 0 0,-1 1-4 0,0 0 0 0,0-1-4 15,0 1 4-15,0-1-4 0,0 0-4 0,1 0 4 0,-1-1-4 0,0 1 0 16,0-1 0-16,1-1 0 0,-2 1 0 0,3-1-4 0,-1 0 4 0,-1-1-4 0,1 0 4 15,1-1-4-15,-1 0 0 0,2-1 0 0,0 0 0 0,0-1-4 16,0-1 0-16,1-1 4 0,1 1-4 0,0-2 4 0,0 0-4 0,0-1 4 0,1-1 0 16,1-1-4-16,0 0 0 0,0-1 4 0,1 1 0 0,0-2 0 0,-1 0 0 15,3-1 0-15,-1 1-8 0,1 0 0 0,1-1 4 0,1-2 0 0,0 2 0 0,0 0 0 16,2-2 4-16,-1 1 0 0,2-1-4 0,0 0-4 0,1 1 4 0,0-1-4 15,0 0 0-15,3-1 4 0,-1 2 0 0,1-2 0 0,0 3 0 0,2-2 0 16,-1 0 0-16,1 1 0 0,1-1 0 0,-1 1 0 0,2 1 0 0,0-1 0 0,0 0 0 16,2 1 0-16,-1 0 0 0,0 0 0 0,1 0 0 0,0 0 0 0,2 0 0 15,-1 1 0-15,1 1 0 0,0-1 0 0,1 1 0 0,-1 1 0 0,3 0 0 16,0 0 0-16,-1 1 0 0,1 1 0 0,1-1 0 0,-2 3 0 0,2 0 0 0,0 0 0 15,1 2 0-15,-1 1 0 0,1-1 0 0,0 3 0 0,1 1 0 0,-1 0-4 16,0 1 4-16,1 2 0 0,0 0 0 0,0 0 0 0,1 2 0 0,0 1 0 16,0 0-4-16,-1 1 4 0,1 2 0 0,0 1 0 0,0-1 0 0,-1 2 0 0,0 0 4 15,-1 2-4-15,0-1 4 0,0 1 0 0,-1 1-4 0,-1 0 0 0,1 1 0 16,-1 1 0-16,-2 0 0 0,1 0 0 0,-1 0 0 0,0 1 4 0,-1-1 0 0,-1 1-4 15,0-1 0-15,0 1 0 0,-2-1 0 0,1 1 0 0,-2 0 4 16,-1-1-4-16,0 2 0 0,-1-1 4 0,0-1-4 0,-1 1 0 0,-1-1 0 0,-1 1 0 16,-1-1 4-16,2 1-4 0,-3-1 4 0,0 0-4 0,-1-1 4 0,-1 2-4 15,-1-2 4-15,1 1 0 0,-2 0-4 0,1 0 4 0,-2 0 0 0,0 0 0 16,-1 0 0-16,0 0 0 0,-1 1 0 0,0-1 0 0,-2 0-4 0,1 1 4 0,-2 0 0 15,1-1 0-15,-1 0 0 0,-2 1 0 0,1 0 0 0,-1-1-4 0,1 1 4 16,-3-1 0-16,2 1 0 0,-1-1-4 0,-1 0 4 0,-1 0 0 0,1 0 0 16,-1-1-4-16,-1 0 0 0,1-1 4 0,0 2-4 0,-3-2 0 0,2 0 0 0,-1-1 0 15,-1 1 4-15,1-2-4 0,-3 1 4 0,2-1-4 0,-2-1-4 0,-1 0 4 16,-1 0 4-16,0-1-4 0,-1 1 0 0,-2 0 0 0,1-3 0 0,-2 1 0 0,-1-1 0 15,0 1-4-15,-1-2 8 0,-1 0-4 0,0-1 0 0,0-1 0 16,-1 0 0-16,-1-1-4 0,1 0 8 0,-2-1-4 0,1-1-4 0,1-1 0 0,-1 0-4 16,0-2-4-16,0 2-16 0,1-3-16 0,-1 1-36 0,2-3-12 0,-1 2 8 15,2-2 8-15,-1-1 12 0,3 0 8 0</inkml:trace>
  <inkml:trace contextRef="#ctx0" brushRef="#br0" timeOffset="85908.9135">5284 6454 7 0,'7'3'16'0,"2"0"-8"0,1 1 4 0,-1-1 4 0,1 0 0 0,1 0 0 0,-1 1 0 15,0 0 0-15,1 0 0 0,0-1 0 0,0 2 0 0,-1-2-4 0,1 1 0 16,-1 2 0-16,1-2 0 0,-1-1 0 0,-1 2 4 0,1-1 0 0,-2 1 0 0,0 1 0 15,-1-1 0-15,1 0 8 0,-2 1-4 0,0 1 4 0,-2 1-4 16,0-1 0-16,0 1 0 0,-3 2-4 0,1 0 4 0,-2 0-4 0,0-1 0 0,-2 2 0 16,1 0-4-16,-2-1-4 0,0 3 0 0,-1-1 8 0,0-1 0 0,-1 2 0 15,0-2-16-15,-1 1 0 0,0 0 8 0,1-1 0 0,-1 0 0 0,0 1 0 0,-1-2 8 16,1 2-8-16,0-2-4 0,0 0 4 0,1 0 8 0,-2-1-4 0,2 0 0 15,0-2 4-15,1 0-8 0,-1-2 0 0,2 1 4 0,-1-1-4 0,0-1-8 16,2-1 4-16,0 0 0 0,0 0 0 0,1-2-4 0,1 0 4 0,-1-1-4 16,2 0 0-16,0 0 4 0,0-2 0 0,1 0 0 0,0 1-4 0,3-1 4 0,-1-1-4 15,0 1 0-15,0-1 0 0,2-1 0 0,-1 1-4 0,2-1 8 0,0-1-4 16,0 0 0-16,0 1 0 0,1-1 0 0,1 0-4 0,0-1 8 0,0 0-8 0,1 0 4 15,0-1 0-15,0 0 8 0,1 1-8 0,-1-1-8 0,1 0 8 0,0-1 4 16,-1 1 0-16,1 0-4 0,1 1-4 0,-3-1 8 0,2 0-4 0,0 0-4 16,-2 1 4-16,0 0-4 0,1 0-4 0,-2 1-8 0,-1-2 0 0,1 2-4 0,-1 0-8 15,0 1-4-15,-1-1-8 0,-1 1-8 0,0 0-24 0,1 0-12 0,-2 0-8 16,0 0 8-16,0 0 8 0,-1 1 8 0,-1-3 8 0</inkml:trace>
  <inkml:trace contextRef="#ctx0" brushRef="#br0" timeOffset="86238.9324">5899 6711 11 0,'6'3'20'0,"0"-1"-8"0,0-1 4 0,0 0 4 0,2-1-8 15,-2 0 4-15,1 0-8 0,0-1 4 0,1-2 0 0,-1 0 0 0,1-1 0 16,-1 0 0-16,1 0 0 0,-1-3 0 0,0 1-4 0,0-1 0 0,-1 0 0 16,2 0 0-16,-2-1 0 0,0 0 0 0,0-1-4 0,1 0 0 0,-2-1 4 15,-1 1-4-15,1-1 0 0,-1 0 0 0,-1 0 0 0,-1 0 0 0,0 0 4 0,-1 0 0 16,-1 0 0-16,-1 1 0 0,-1-1 0 0,-1 2 0 0,-1 0 4 0,-2 0 0 15,1 0 0-15,-4 2-4 0,1 0 0 0,-1 0 4 0,-3 1 0 0,2 2 0 16,-1-1-4-16,-2 0-4 0,0 1 4 0,1 1 0 0,-2 0 0 0,1 2-4 0,-2 0 0 16,1 0 4-16,0 0-8 0,0 2 0 0,-1 0 4 0,2 0-4 0,-1-1 0 15,1 3 0-15,1-1 0 0,-2 0-4 0,4 1 0 0,-2-1 0 0,2 2 4 0,2-1-4 16,0 1 0-16,0 0-4 0,3-1 0 0,1 1-4 0,1 0-8 0,1-1-20 15,1 1-28-15,1-1-8 0,2-1 4 0,1 1 8 0,0 0 8 0</inkml:trace>
  <inkml:trace contextRef="#ctx0" brushRef="#br0" timeOffset="86971.9745">7683 6266 7 0,'-7'0'40'0,"1"0"-4"0,1 0-4 0,0 0-4 0,0 0 0 16,1 0-4-16,-1-1-4 0,1 0-4 0,2 0 0 0,-1 0 0 0,2-1 0 15,1 0-4-15,1 0-4 0,2-4 4 0,2 3 0 0,2-2-4 0,1-1 0 16,3 1 0-16,2-3 4 0,1 1 0 0,4-2-4 0,0 1 0 0,3-2-4 16,1-1 0-16,1 0 0 0,3-2 4 0,1 0-4 0,1 0 4 0,2-2-8 0,0 1 8 15,2-2-4-15,0 0 0 0,2-1 0 0,1 0 0 0,0-1 0 0,3-1 0 16,-1 1-4-16,0 0 8 0,1 0-4 0,1 0 0 0,-2 1-4 0,-1-1 4 0,0 1-4 15,-2 1 4-15,0 1 0 0,-2-1-4 0,-1 2 0 0,-1 0 0 16,-2 2 4-16,-2 0 0 0,0 1 0 0,-3-1-4 0,-1 4 0 0,-1-2 4 0,0 3 0 16,-3 0 0-16,-1 0-4 0,-2 1 0 0,1 1 8 0,-3 1-4 0,-1 0 0 15,0 1 0-15,-3 0 0 0,1 1 0 0,-3-1 0 0,-1 2 0 0,0 0 0 0,-2 0 4 16,0 0-4-16,-1 1 0 0,-3 0 4 0,1 0 0 0,-2 0-8 0,0 2 0 15,-1-1 4-15,-2 1-4 0,1 1-4 0,-1 0 4 0,0 0-8 0,0-1 4 16,-1 2-4-16,1-1-4 0,0 1 0 0,-2 0-8 0,2 1-12 0,0-1-32 16,0 0-24-16,0 0 4 0,0 2 12 0,-1-1 0 0,0 0 12 0</inkml:trace>
  <inkml:trace contextRef="#ctx0" brushRef="#br0" timeOffset="87956.0307">10165 6134 11 0,'3'2'16'15,"0"1"0"-15,0 0-4 0,2 0 8 0,-2 0-4 0,0 1 0 0,1-1 0 0,0 1 0 16,0 0-4-16,1 0 0 0,0 1 0 0,-1 0 0 0,0 0 0 0,0 1-16 15,0-2 16-15,0 1-4 0,0 1 4 0,0 0-4 0,1-1-4 0,0 1 0 16,-1-1 4-16,1 1-4 0,-1 1 0 0,1-2 4 0,0 1-4 0,0 1 0 0,-1-3 0 16,0 2 0-16,1 0 0 0,-1 0 4 0,1 1-4 0,0-1 0 0,0 0 0 15,-1 0-4-15,1 0 4 0,0 0 0 0,-1 0-4 0,1 0 4 0,1 1 0 0,-2 0 0 16,1-2-4-16,-1 2 0 0,1-1 0 0,0 1 4 0,1-1-4 0,-1 0 0 15,0 1 0-15,1 0 4 0,-1 0-4 0,0 0 0 0,1-1 4 0,0 2 0 16,1-1 0-16,-2-1-4 0,1 1 0 0,1 0 0 0,-1 0 4 0,0 0-4 16,1 0 4-16,-2 1-4 0,3 0 0 0,-2-1 4 0,0 0-4 0,1 1 0 0,-2-1 4 15,3 1-4-15,-1 0 0 0,-1 1 0 0,0-1 4 0,1 0 0 0,0 3 0 16,-1-2 0-16,0 1 4 0,0 2 0 0,1-2-4 0,-2 2 0 0,0-1 4 0,0 0 0 15,1 1 0-15,-2 0 0 0,2 1-4 0,-1-1 0 0,-1-1 4 16,0 2 0-16,0-1 0 0,0 1-8 0,0 0 8 0,1-1-8 0,-1 0 4 0,-1 1 4 16,0-1 0-16,1 0 0 0,-1 1 0 0,-1 0-4 0,1-2 0 0,-1 1 4 15,1 0-8-15,0-1 4 0,-1 0 0 0,0 0 0 0,0-3 4 0,0 1-4 0,0 1 0 16,0-3 4-16,-1 1 0 0,1 0-4 0,0-1 0 0,-2 0 0 0,2 0 0 15,0 0 0-15,-1-2-8 0,-1 1 4 0,2 0 4 0,-1-1 0 0,0 0 0 16,-1-1-4-16,1-1 0 0,1 3 4 0,-1-3-4 0,0 0 0 0,0 0 0 16,-1 0 4-16,1-1-4 0,-1 0 4 0,1-1-4 0,-1 1 0 0,1 0 4 0,-1-2-4 15,0 1 0-15,0 0 4 0,1-1-4 0,-1 0 0 0,0 0 0 0,0 0 4 16,0-2-4-16,1 0 0 0,0 1-4 0,-1-2-4 0,1 0-4 0,0 1-8 0,0-1-8 15,-1-1-20-15,0-1-12 0,1 1-24 0,-1-1-4 0,0-2 8 16,0 2 8-16,0-2 8 0</inkml:trace>
  <inkml:trace contextRef="#ctx0" brushRef="#br0" timeOffset="92436.2871">9499 6254 7 0,'-10'2'32'16,"0"-2"0"-16,1 0-8 0,-2 0-4 0,0 0 0 0,2-2 0 0,-3 1 0 16,1-2-4-16,1 3 0 0,-3-3-4 0,3 1 0 0,-3 0 0 0,2-1-4 0,1-1 4 15,-3 2-4-15,3-3 0 0,-2 3 4 0,0-2-4 0,0-1 4 0,-1 2-4 16,2-3 0-16,-2 1 0 0,0 0 4 0,1 0-8 0,-2 0 4 0,1-1-4 15,0 0 4-15,1-1 4 0,-1 0-4 0,0-1 0 0,1 1-4 0,-1 0 4 16,0-1 0-16,1 0 0 0,-1-1 0 0,2 0 0 0,-1 0 0 0,1 0 0 0,0-1 0 16,0 1 0-16,1-2 0 0,1-1 0 0,-1 0 0 0,1 1-4 0,1-1 4 15,1-1-4-15,-1 0 0 0,1 0 0 0,2-1 4 0,-1 0 0 0,2 0-4 0,0 0-4 16,0-1 4-16,2 1 0 0,-1-1-4 0,1 1 0 0,2-1 4 15,0 0 0-15,0 1 0 0,1-1-4 0,1 0 0 0,0 1 0 0,1 0 0 0,2-1 0 16,-1 1 4-16,0-1 0 0,1 1-4 0,1 0-4 0,-1 0 8 0,3 0-4 16,-2 2 0-16,1-1 4 0,0-1-4 0,1 2 0 0,-1 0 0 0,1 0-4 0,0 1 4 15,1-1 4-15,-1 1-4 0,1-1 0 0,0 1-4 0,1 1 4 0,-1-2-4 16,1 1 4-16,1 0 4 0,0 0-8 0,-1-1 0 0,3 1 4 0,-2 0 0 15,2-1 4-15,-1 2 0 0,0-2-4 0,2 2 4 0,-1-1-4 0,2 1-4 16,-1-1 4-16,1 1 0 0,0 1 4 0,2-1-8 0,0 0 8 0,1 1-8 0,0-1 4 16,3 1 0-16,-1 1 0 0,3-1-4 0,-2 0 4 0,2 2 0 0,1-1 0 15,1-1 0-15,-1 3 4 0,2-1-4 0,0 0-4 0,1 0 0 0,0 1 4 0,1 1 0 16,0-1 0-16,-1 1-4 0,1 0 4 0,1 1 8 0,0 0-8 0,0 1 0 15,-1-1 4-15,1 2-4 0,0 0 0 0,0 0-4 0,-1 1 4 0,0 1-4 16,-1 0 4-16,1 1 0 0,-2 1 0 0,0 0 4 0,-1 0-4 0,0 2 0 16,0 0 0-16,-1 0-4 0,0 2 12 0,0 0-8 0,-1 1-4 0,-1-1 4 0,0 3 4 15,1-1 0-15,-2 1 4 0,-1 2-8 0,0-2 4 0,1 2-4 0,-2 0 4 16,0 2-4-16,-1-1 0 0,0 0 4 0,0 1-4 0,-2 0 4 0,1 0-4 15,-2 2 4-15,1-3-4 0,-1 4 4 0,-1-3-4 0,-1 2-4 0,-1 0 12 0,1-1-8 16,-2 2 0-16,1-2 4 0,-3 1-4 0,-1 0 8 0,0 0-8 0,0 0 8 16,-3 1 0-16,-1-1 0 0,1 1-12 0,-3 0 8 0,0 1 4 0,-1 0-8 0,-1-1 8 15,-1 1-4-15,-1 1 4 0,0 0 4 0,-2-1 0 0,0 2-4 0,-1-1 0 16,0 1-4-16,-3-1 4 0,1 1 4 0,-1-1-4 0,-2 1-4 0,1-1 8 15,-1 1-4-15,-2-1 0 0,0-1 0 0,-1 2-4 0,-1-2 8 0,0 1-4 16,-2 0 4-16,0-2-4 0,-2 2-4 0,1 0 8 0,-3-1-8 0,0 0 0 0,0-2 0 16,-2 0 0-16,0 2-4 0,-2-2 0 0,1 0 0 0,-3-2 8 0,1 1-4 15,-2-2-8-15,0 1 12 0,-1-2 0 0,-1 1-8 0,1-2 0 0,-3 0 0 0,2-2 4 16,-1 1-4-16,-1-1 0 0,-2-1 0 0,2-1 0 0,0 0 4 15,-1-1-4-15,1 0-4 0,0-2 4 0,0 0 4 0,1-2-8 0,0 0 0 0,2-1-4 16,0-2 4-16,1 0-4 0,1-1 0 0,1-3-24 0,1 0-8 0,3-2-16 16,-1 1-12-16,1-4-40 0,3 0 0 0,0-2 12 0,3 1 12 0,-1-3 4 0,3 0 12 15,-1-1 4-15</inkml:trace>
  <inkml:trace contextRef="#ctx0" brushRef="#br0" timeOffset="94716.4173">12636 5545 19 0,'4'2'28'0,"-2"0"-4"0,-1-1 0 0,1 1-8 0,-1 0-4 0,0-1 0 16,1 1 4-16,-1 0-4 0,0-2-4 0,0 2 4 0,0-2-4 15,-1 2 0-15,1-1 0 0,0 0 4 0,0-1-4 0,0 1 0 0,0-1 0 0,1 0 0 16,1 0-4-16,-1 0 0 0,3 1 0 0,-1-1 0 0,0 1 0 0,1-1 4 16,0 2-4-16,0-1 0 0,1-1 0 0,1 1 4 0,0 1-4 0,1-2 0 0,0 2 4 15,1-1-4-15,0 0 0 0,1-1 4 0,1 1-4 0,0 1 0 0,1-2 4 16,2 0-4-16,0 1 0 0,1-1 0 0,1 0 4 0,2 0-4 0,2-1 4 15,0-1-4-15,2 1 0 0,2 0 4 0,1-2 0 0,1 1-4 0,1 0 4 0,2-1-4 16,1 0 0-16,0 0-4 0,1-1 0 0,2 1 4 0,0 1-4 0,0-2 4 16,3 1-4-16,-2-1 4 0,2 1 0 0,-1-1 0 0,1 1-4 0,0 0 4 15,2 0-4-15,-1 1 4 0,0-1 0 0,0 0 0 0,0 1-4 0,2 0 4 0,-1 2 0 16,-1-1 0-16,0 0 0 0,-1 2 0 0,0 0 0 0,0-1-4 0,-2 3 0 15,1-2 4-15,-2 2-4 0,0 0 0 0,0 1 0 0,-1-1 8 0,0 1 0 16,-1 1-4-16,2-1-4 0,-2 2 8 0,0-1 0 0,0 0 0 0,0 1-4 0,0 0 4 16,1-1 0-16,-1 1-4 0,2 0 4 0,-2-1 0 0,2 2 0 0,-1-2-8 15,1 0 4-15,1 1 4 0,0-2 0 0,1 1 0 0,0-1 0 0,1-1-8 0,1 3 8 16,0-4-8-16,1 0 0 0,0 1-4 0,2-1 8 0,-1-1 0 15,0 0 4-15,1 0-8 0,1-1 4 0,-1 0-4 0,1-1 8 0,1 0-12 0,0 0 8 16,0-2 8-16,2 1-16 0,0-1 8 0,1 0 0 0,0-1 0 0,0 1 4 16,1 0-8-16,0 0 8 0,0-2 4 0,1 1-8 0,-2 0 0 0,0 0 0 0,0 1 4 15,-2-2-8-15,2 1 4 0,-3 1 4 0,2-2-4 0,-2 1 0 0,-1 1 0 16,1 0 0-16,-1-1 4 0,-1 2 0 0,2-2-4 0,-1 1 4 0,0 0-8 15,1 0 0-15,-1 0 12 0,0 1-12 0,2-1 0 0,-2 1 4 0,1 0 0 16,-1 0 4-16,-2 0-4 0,2 0 0 0,-1 1 0 0,-1-1-4 0,0 1 8 0,0 1-8 16,0-1 4-16,0 1 0 0,-2-2 0 0,3 2 0 0,-2-1-4 0,1 1 4 15,-1-1 0-15,2 1 4 0,0 0-8 0,0 0 4 0,1 0 0 0,1 0 4 0,0 0-4 16,2 0-4-16,-1 0 0 0,1 0 4 0,0 0 4 0,-1-1-4 15,2 1-4-15,-1-1 4 0,2 0 0 0,-2-1 0 0,3 1 0 0,-2 0 0 0,1-2-8 16,0 1 8-16,2 0 0 0,-1-1-4 0,2 0 4 0,1 0 4 0,0-1 0 16,1 1 0-16,0 0-4 0,1-1 0 0,1 1-4 0,-2-2 0 0,2 1 0 0,-1 1 4 15,0-2 0-15,-2 2 0 0,1-1 0 0,-1-1 0 0,0 0 0 0,1 2-4 16,-1-1 0-16,0 0 4 0,1 0 0 0,-1 1 0 0,2-1 0 0,0 1 0 15,-1 0 0-15,0 0-4 0,1 1 0 0,-1-1 4 0,1 0-4 0,-2 1 4 0,-1 1-4 16,0-2 0-16,-1 2 4 0,-1 0 0 0,0-1-4 0,-1 0 4 0,-1 1-4 16,0 0 0-16,-1 0 0 0,1 1-4 0,-3-2 4 0,0 2 0 0,1-1-4 15,-2 1 4-15,-1 0 0 0,0 0 4 0,-1-1-4 0,-2 1 4 0,-1 1-4 0,-1-1 0 16,-1 0 4-16,-3 0-4 0,0 0 0 0,-2 1 0 0,-3-1 0 0,0 0-4 15,-1 2 4-15,-2-2 4 0,-1 1-4 0,-1 0 0 0,-1-1 4 0,-3 0-4 16,0 1 0-16,-2-1 0 0,0 1 4 0,-2-1 0 0,0 1-4 0,-3-1 0 0,0 0 0 16,-2 0 0-16,0 0-8 0,-3 0-4 0,-1 2-8 0,-2-2-16 0,-1 0-12 15,-2-2-24-15,0 2-40 0,-3 0-12 0,0-2 8 0,-2 1 12 0,-1 0 8 0,-2 0 12 16,0-2 8-16,-2-1 12 0</inkml:trace>
  <inkml:trace contextRef="#ctx0" brushRef="#br0" timeOffset="97788.5931">1727 12865 19 0,'-6'0'32'0,"1"1"0"0,0-1 0 16,1 1-8-16,-2-1 4 0,2 0-4 0,0-1 0 0,0 1-8 0,0-1 4 0,0 1-4 15,1-1-4-15,-1-1 4 0,1 2-8 0,0-1 0 0,1 1 0 0,-1-1 4 16,1-1-4-16,1 2 0 0,0 0 0 0,1-1 0 0,0 0 0 0,1 0-4 15,1 1 0-15,0 0 4 0,0 0 4 0,2 0-4 0,-1 0 4 0,3 0-4 0,-1 0-4 16,0-1 12-16,1 1 8 0,1-1-4 0,1 1-4 0,0-2 0 0,1 2 0 16,1-1 8-16,-1-1-12 0,1 0 8 0,3 1 0 0,-2-1-8 0,1-1 12 0,2 1-4 15,-2-1-8-15,2 1 0 0,0-2 4 0,0 2 0 0,0-1 0 16,1 0 8-16,0-1-8 0,0 1 8 0,-1 0-12 0,1-1 8 0,0 1-4 0,-1-1 0 15,0 0 0-15,-1 0-4 0,1 1 4 0,-2-1-4 0,-1 1 4 0,1 0-4 16,-2 1 0-16,0-1-4 0,-1 1 4 0,-1-2 0 0,-1 3-4 0,0-1 0 0,0-1 4 16,-2 3-4-16,0-1 0 0,-1-1 0 0,0 1 0 0,-2 1-4 0,1-1 4 15,-2 1-4-15,2 0 0 0,-2 1 0 0,-1-1-4 0,0 2 4 0,-1 0-4 16,-2 0-4-16,2 0 0 0,-1 1-8 0,0 0-12 0,0 0-16 0,0 0-16 15,0 1-20-15,-1-1-36 0,1 1-20 0,-1-2 12 0,2 1 12 0,-2 0 12 0,2 0 8 16,-1-3 12-16,0 1 8 0,2-1 8 0</inkml:trace>
  <inkml:trace contextRef="#ctx0" brushRef="#br0" timeOffset="98968.6607">14908 6586 35 0,'-1'-5'36'0,"1"-1"-4"0,-1 1 0 0,1 0-4 16,0 1-4-16,0 0 0 0,0 0-4 0,1 0 0 0,-1 0 0 0,0 1-4 0,1 1 0 15,-1 0 0-15,0-1-4 0,1 1 4 0,0 1-4 0,1 1 4 0,-1 0 0 16,1 0 0-16,1 1 0 0,-1 1 0 0,0 1 0 0,1-1 0 0,-1 1 0 0,0 2 4 16,0 1-4-16,0 0 0 0,1 1 4 0,-2-1-8 0,1 3 4 0,-1-1-8 15,0 2 8-15,1 0-8 0,-1 1 8 0,0 1 0 0,-1-1-8 0,1 2 0 16,-1 0 4-16,0 0 4 0,0 1-4 0,0 0 0 0,-1-1 0 0,1 2-4 15,-1-1 0-15,0 1 0 0,0-2 0 0,-1 2 4 0,1-1-12 0,-1-2 8 0,1 1 0 16,-1-1 0-16,-1 0-8 0,2-1 4 0,-1-2 0 0,1 2 4 0,-1-3-4 16,0 0-4-16,1 0 8 0,0-1-4 0,-1-1-8 0,1 0 4 0,1-3 4 0,-2 1-4 15,1 0 0-15,1-1 4 0,-1-2-12 0,1 1 8 0,0-1 0 16,0-1 0-16,0 0 0 0,1-2-8 0,0 0 0 0,1 1-12 0,-2-1 4 0,1-2-12 15,1 2-8-15,-1-1-12 0,-1 1 0 0,2-2-16 0,-1 0-28 0,0 1-4 16,0 1 8-16,1-3 12 0,0 3 4 0,-1-1 8 0,2-1 8 0</inkml:trace>
  <inkml:trace contextRef="#ctx0" brushRef="#br0" timeOffset="99172.6724">15390 6693 39 0,'11'-9'48'0,"1"0"-8"16,-2 2-4-16,0-1 0 0,0 0-4 0,-2 1-4 0,1 0 0 0,-2 0 0 15,1 1-4-15,-3 1 0 0,1-1 0 0,-2 1 0 0,0 0-4 0,-1 1 4 0,1 1-4 16,-3 0-4-16,2 0 0 0,-2 1 0 0,0-1-8 0,-1 2 0 0,0 0-8 16,0 0 8-16,0 1 0 0,0 1-4 0,0-1-4 0,0 2 4 0,0 0-4 0,0-1 0 15,0 1 0-15,0 1 0 0,0 0 0 0,0 0-4 0,0 1-8 0,0 1-16 16,0-1-16-16,0 1-32 0,0-1-16 0,0 2 8 0,0-1 12 0,0 1 8 15,0-1 8-15</inkml:trace>
  <inkml:trace contextRef="#ctx0" brushRef="#br0" timeOffset="99343.6821">15507 6859 39 0,'0'4'48'0,"-1"1"4"0,0 0-8 0,0 0 8 0,-1-1 0 0,2 0-8 0,-1-1-4 0,0 1 0 16,-1-2 8-16,1 1-12 0,1-1 8 0,0-1-4 0,-1 0-8 16,0 0 4-16,0-1-4 0,0 0-4 0,1 0 0 0,0 0-4 0,0 0-4 0,0 0-4 15,0 0-4-15,0 0 0 0,0 0-4 0,0 0 0 0,0 0 0 16,0 0-4-16,1 0 4 0,-1 0-8 0,1 0-8 0,0 0-16 0,-1 0-28 0,1 0-24 0,-1 0-40 15,1 0 4-15,-1 0 12 0,1 0 8 0,1 0 12 0,-1 0 8 0,-1-1 4 16</inkml:trace>
  <inkml:trace contextRef="#ctx0" brushRef="#br0" timeOffset="103833.939">16467 6947 3 0,'-3'-2'20'0,"1"1"4"16,0-2 0-16,0 1-4 0,0-1-4 0,1 2-4 0,0-1 0 0,0 0 0 16,1-1-4-16,-1 2 4 0,1-1-8 0,-1 1 4 0,1 0 0 0,-1 0 0 15,2 1 0-15,-1 0-4 0,1 0 4 0,0 2-4 0,1-1 0 0,1 2 0 0,0-1 0 16,0 1 0-16,0-1 0 0,2 1-4 0,-1 0 8 0,1 1 0 0,0-2 0 15,1 3-4-15,0-3 0 0,0 1 0 0,0 0 0 0,2 1 4 0,0-2 0 16,-1 0 0-16,2 0 0 0,0 0 0 0,-1 0-4 0,2-1 8 0,-1 0-4 0,2-1 0 16,-1-1 0-16,1 0 0 0,1-1-4 0,0 0 4 0,0-2-4 0,1-1 4 15,-1 1 0-15,2-2-4 0,-1 0 0 0,0-3 0 0,0 2 0 0,2-1 0 0,-3-1 0 16,1-1 0-16,0-1 0 0,0 2 4 0,-1-2-4 0,-1 0 0 0,0 0 0 15,1 0 4-15,-2-2 0 0,-1 1 0 0,0 0-4 0,-2 1 0 0,0-1 0 16,-2 0 4-16,1 2-4 0,-4-3 0 0,0 2 4 0,-2 0 0 0,-1 1-4 16,-2-1 0-16,-2 2-4 0,0 1 0 0,-2 0 8 0,-1 1-4 0,-2 2-4 0,-1 0 4 15,0 0-4-15,-3 2 4 0,0 1-4 0,-2 0 0 0,0 2 4 0,-2 1 0 16,0 1-4-16,0-1 0 0,-2 3 0 0,1 0 4 0,-1 1-4 0,0 0 0 0,1 0 4 15,-1 1-4-15,2 1 0 0,-1 1 0 0,1 0-4 0,2-1 0 16,0 1 4-16,2 2-4 0,-1-1 4 0,3 0 0 0,1 2-4 0,-1-3 0 0,4 1 4 16,1 2-4-16,0-2-8 0,1 1-12 0,3-2-16 0,0 1-28 0,2-1-20 15,2-1 8-15,0-1 4 0,3 0 12 0,0-1 4 0</inkml:trace>
  <inkml:trace contextRef="#ctx0" brushRef="#br0" timeOffset="104221.9611">17402 6820 19 0,'5'3'32'0,"1"-1"0"16,0 2 0-16,1-3-4 0,-1 2-4 0,1-2-4 0,1 0 4 0,0-1-4 15,-1 0 0-15,1 0-4 0,1-1 4 0,-1 0-4 0,0-1-4 0,0 0 0 0,1-2 4 16,-1 1-4-16,0-1 0 0,1 0 4 0,-1 0-8 0,0-2 4 0,-1 1 0 15,1-1 0-15,0 1 0 0,-2-3-4 0,0 1 0 0,0 0 0 0,0 0 0 16,-1-1 0-16,-1 0 0 0,0 0 0 0,-2 0-4 0,1-1 0 0,-1 2 0 16,-1-2 0-16,0 1 0 0,-2-1 0 0,0 2 8 0,0-1-8 0,-2 0 4 0,0 0-8 15,-1 0 4-15,-1 1 4 0,0 1-4 0,-3-2-4 0,2 1 4 0,-2 2 4 16,-1 0-8-16,-1-1 8 0,0 2-8 0,-1-1 0 0,-1 2 4 0,1-1-4 0,-2 2 4 15,1 0-4-15,0-1 0 0,-1 3 0 0,-1-1-4 0,1 1 4 0,1 0 0 16,-2 1 0-16,2 1-4 0,0 0 0 0,0 1 0 0,1 0 0 0,0 0 0 16,0 1 0-16,2 0 0 0,1 2-8 0,0-1-12 0,1 1 0 0,0 0-8 0,2-1-24 15,0 1-28-15,2 0 0 0,-1 0 8 0,2 0 12 0,0 0 8 0</inkml:trace>
  <inkml:trace contextRef="#ctx0" brushRef="#br0" timeOffset="104645.9854">18058 6783 11 0,'10'3'28'0,"0"-1"4"16,2 0-4-16,-1 1-4 0,0-1-4 0,2-1 0 0,0 0 0 0,-1-1-4 15,3 0 0-15,-2 0-4 0,2-1 0 0,-1 0 4 0,1-2-4 0,-1 0-4 16,1 0 4-16,-1 0-4 0,0-2 4 0,0-1-4 0,0 1 0 0,0-1 4 0,-2-1-4 16,1 0 0-16,-1-1-4 0,0 1 4 0,-1-2 0 0,-1 1 0 0,0-1-4 15,-2 0 4-15,-1 0-4 0,1-1 0 0,-2 0-4 0,-1 2 4 0,-1-2 0 0,0 0 0 16,-2 1 0-16,-1 0 0 0,-1 0-4 0,-1 0 4 0,-1 1 0 0,-1 0 0 15,-1-1-4-15,-2 2 4 0,0 0 0 0,-2-1-4 0,0 1 0 0,0 0 0 16,-3 2 4-16,0-1 0 0,-1 1-4 0,0-1 0 0,-2 3 0 0,0-1 0 16,0 1 0-16,-2 0 0 0,1 1 0 0,-1 0 0 0,0 1 0 0,-1 1 0 0,2 0 0 15,-2 0-4-15,3 1 4 0,-2 1 0 0,1 0 0 0,0 0 0 0,2 1-4 16,-1 1 4-16,2 0-4 0,2 0 0 0,-2 2-8 0,3-2-8 0,0 2-12 0,1 0-12 15,1 0-20-15,1-1-12 0,1 2 12 0,1-1 4 0,-1 0 8 16</inkml:trace>
  <inkml:trace contextRef="#ctx0" brushRef="#br0" timeOffset="105142.0137">18852 6775 3 0,'4'1'28'0,"2"1"-8"0,-1-1 4 0,1 1-4 15,0 0 4-15,2 0-4 0,0-1 4 0,0 1-8 0,0-1 4 0,1 0-4 16,1 0 0-16,-1 0 0 0,0 0 4 0,2-1 0 0,0 0-4 0,0 0 4 16,-1 0-4-16,1-2 4 0,1 1-4 0,-2-1 0 0,1 0-4 0,1-1 4 0,-2-1-4 15,0 0 4-15,1 0 0 0,-2-2-4 0,0 0-4 0,-1 0 0 0,1-1 0 16,-2 0 0-16,-1-1-4 0,0-1 4 0,0 1 0 0,-2-2 0 0,-1 1 4 0,1 0-8 15,-3 0 0-15,1-1 0 0,-2 1 4 0,-1 0 0 0,0-1 0 16,-2 1-8-16,-1 0 8 0,-1 0-8 0,-2 1 4 0,1 0 4 0,-2 0-8 0,-1 0 4 16,-1 0-4-16,0 3 0 0,-2-2 0 0,-1 1 4 0,1 2-8 0,-3-1 4 15,1 0 0-15,-1 3 0 0,0-1-4 0,-1 1 8 0,1 1-4 0,-1 0-4 0,1 1 0 16,-2 0 0-16,2 1 8 0,0 1-8 0,1-1 0 0,-1 2 4 0,2-1 0 15,-2 1-4-15,4 1 0 0,0 1 0 0,1-1 0 0,1 0 0 0,1 1 0 16,2 0-8-16,0 1-8 0,3-1-8 0,1 0-4 0,2 0-8 0,1 1-28 0,1-1-12 16,1 1 0-16,3-2 8 0,1 1 8 0,1-1 8 0</inkml:trace>
  <inkml:trace contextRef="#ctx0" brushRef="#br0" timeOffset="105532.0361">19570 6727 19 0,'5'2'36'0,"0"0"-4"15,0 0-4-15,1 0 0 0,1-1-4 0,0 2 0 0,1-2-4 0,-2 2 0 0,2-2-4 16,1 1 0-16,-1-1 0 0,1 1 0 0,0 0 0 0,0-1-4 0,0 0 0 15,0 0-4-15,2 1 0 0,-1-2 0 0,0 0 0 0,1 1 0 0,0-1 0 16,-1 1 0-16,1-1 0 0,-1 1-4 0,1-1 0 0,-1-1 0 0,0 1 0 16,1 0 0-16,-2-1 0 0,1 0 4 0,0 1 0 0,0-2 0 0,-1 1 0 0,0 0 4 15,0-2-4-15,0 2 0 0,-1-1 0 0,-1-1 0 0,1 0 4 0,-1 1-4 16,0-2 0-16,-2 1 0 0,2-1 0 0,-2-1 4 0,0 0-8 0,-1 1 4 0,-1-2-4 15,1 1 0-15,-3-2 0 0,2 1 4 0,-2-2-4 0,0 0 0 16,-1 0 4-16,-1-1 0 0,0 0-8 0,-1 0 8 0,-1 0-12 0,-1-2 12 0,0 3 0 16,-2-2-4-16,-3 0-4 0,2 0-4 0,-2 0 4 0,-1 0 8 0,-1 0 0 15,-1 1 0-15,-2 1-4 0,1-2-4 0,-1 2 4 0,-2 0 0 0,1 0-4 0,-2 2 4 16,0-1 0-16,1 2-8 0,0-1 8 0,-1 2 0 0,0 0-8 0,1 1 4 15,-1 0-4-15,1 1 4 0,1 2-4 0,0-2 0 0,0 2-4 0,1 2 0 16,1-1 4-16,0 1-16 0,1 1-8 0,0-1-8 0,3 2-12 0,0-1-24 0,-1 1-20 16,4 0 8-16,-1 0 4 0,2 1 12 0,1 0 8 0</inkml:trace>
  <inkml:trace contextRef="#ctx0" brushRef="#br0" timeOffset="108073.1814">15049 7713 23 0,'-2'-2'20'0,"-1"0"4"15,2 0 0-15,-2-1-4 0,2 3 0 0,1-1 0 0,1 0-4 0,1 0 0 16,0 1 4-16,-1 0-4 0,2 0-4 0,1 1 4 0,1 0-4 0,0 0 4 0,1 2-4 15,3 0 0-15,-2 0 0 0,1 1 4 0,0 1-4 0,1-2 0 0,1 3 0 16,-1-2 0-16,2 3 0 0,0-4-4 0,-1 3 4 0,1 0 0 0,0-1 0 16,0 2-4-16,1-2 0 0,-2 0 0 0,2 2 0 0,-3-1 4 0,1 0-4 0,-1 0 8 15,1 1-4-15,-2-1 0 0,-1 1-4 0,-1-1 4 0,1 0-8 0,-2 1 8 16,-1 0-8-16,0 0 12 0,-2 0 0 0,-1 0-4 0,-1-1 0 0,-2 3-4 15,0-2-4-15,-2 1 4 0,0-1-4 0,-1 2 4 0,-3-2-4 0,1 2-4 16,-2 0 4-16,0-2-8 0,-2 1 12 0,1 0-8 0,-1 1 0 0,-3-1 4 0,2-1-4 16,-2 1 4-16,1-1 0 0,-1 1-4 0,1 0 0 0,-2-2 0 0,1 1 0 15,1-1 0-15,-1 0 4 0,1 0 4 0,1-1 4 0,-1-1 0 0,3 1-4 0,-2-1-4 16,2-2 4-16,2 2-4 0,-1-2-8 0,2 1 12 0,0-2-4 0,1 1 0 15,2 0 4-15,-1-1-12 0,3-1 4 0,0 2 0 0,1-2 4 0,2 0 0 16,1 1 0-16,1-1 0 0,3 0 0 0,-1 0-4 0,1 0 0 0,2 0 4 16,2 0 0-16,-1 0 12 0,1 0-16 0,3-1 4 0,-2 1 0 0,2-2-4 0,1 2 12 15,0-1-4-15,0 1 0 0,1-2 0 0,2 1 4 0,-2 0-8 0,2 0 0 16,-2-1 0-16,3 1 0 0,-2-1-4 0,1 1 4 0,-1-1-4 0,1 1 12 0,-1-1-8 15,-1 0 0-15,-1 0 4 0,1 1-8 0,-2 0 8 0,-1-1-4 16,0 0-4-16,0 1 0 0,-3-1 0 0,0 0 0 0,0 1 0 0,0 1-4 0,-3-2 12 16,1 2-12-16,-2-2 4 0,0 2-4 0,0-1 12 0,-1 1-12 0,-1-1 0 15,0 1 4-15,-2-1 0 0,2 1-4 0,-2 0-4 0,0 0-8 0,1 0-12 0,-1 0-12 16,0 0-12-16,-1 0-8 0,1-1-32 0,0 1-20 0,0-1 8 0,0 0 12 15,-1 1 8-15,0-1 8 0,1 1 12 0,0-3 4 0</inkml:trace>
  <inkml:trace contextRef="#ctx0" brushRef="#br0" timeOffset="108259.1921">15827 7836 27 0,'7'-4'32'0,"-1"0"-4"0,2 0 0 0,-2 0-4 16,-2 1-4-16,1-1 0 0,-1 1-4 0,-1 1 0 0,1-2-4 0,-1 3 0 0,-2-1 0 15,1 0-4-15,0 0 0 0,-2 1 0 0,0 0-4 0,0 0 0 16,-1 1 0-16,1 1 0 0,-1 0 0 0,0 1-4 0,0 1 0 0,1-1-12 0,-1 1-32 16,0 1-20-16,0-1 0 0,0 1 8 0,0 0 8 0</inkml:trace>
  <inkml:trace contextRef="#ctx0" brushRef="#br0" timeOffset="108412.2008">15905 7972 15 0,'2'2'36'0,"1"-1"4"15,-1 1-4-15,1 0 0 0,-1-1-4 0,0 0-4 0,-1 0 0 0,1 0 0 0,0 0-4 16,-1-1-4-16,0 1 0 0,0-1 0 0,0 0-4 0,-1 0 0 0,1 0 0 15,0 0-4-15,1 0 0 0,-1 1-4 0,1-1-4 0,-1 2 4 0,1-1-4 16,-1 0 0-16,0 2-8 0,1-1-16 0,-1 0-20 0,0 0-40 0,1 1 0 16,-1-1 8-16,0 0 4 0,2 0 12 0</inkml:trace>
  <inkml:trace contextRef="#ctx0" brushRef="#br0" timeOffset="108934.2307">16988 7811 15 0,'5'3'24'16,"1"-1"0"-16,0 2 0 0,0-2 0 0,3 1-4 0,-2 0 4 0,0 1 0 15,2-1-8-15,0 0 4 0,-1-1 0 0,1 0-4 0,0 0-4 0,0-1 0 16,1-1 0-16,0 0 4 0,-1 0-4 0,0 0 0 0,0-3-4 0,1 1 0 16,-1-2 4-16,0 1-4 0,0-1-4 0,-1-1 4 0,1-1 0 0,-2-1-4 0,1 0 4 15,-1 0 0-15,-1-1-4 0,0 0 0 0,0-1 4 0,-1 0 0 0,-2-1 0 16,1 0 0-16,-3 0 0 0,1 1-4 0,-2-2 0 0,-1 0 4 0,-1 0-8 15,0 1 4-15,-2 0 0 0,-2-1 0 0,-2 2 0 0,0-1 0 0,-1 1-4 16,-2 1 4-16,1-1 0 0,-2 1 0 0,-2 2-4 0,0 0 4 0,-1 0-4 0,1 2 4 16,-3 0-4-16,2 0 0 0,-2 2 0 0,1-1 0 0,0 3 0 0,0-1 0 15,1 1 0-15,0 1 0 0,0 1-4 0,1-1 0 0,1 2 0 0,0 1 4 0,3 0 0 16,-1 0-4-16,2 3 0 0,1-1 0 0,2 0 0 0,2 2-8 15,1-1-12-15,2 1-24 0,1-1-28 0,2 1-4 0,1-1 4 0,3 2 8 0,1-2 8 16</inkml:trace>
  <inkml:trace contextRef="#ctx0" brushRef="#br0" timeOffset="109313.2524">17656 7648 15 0,'0'4'24'0,"0"0"0"0,0-1 0 0,0 1 0 0,3 0 0 16,-1 0-4-16,-1 0 0 0,2 0 0 0,0 0 0 0,1 1-4 0,0-2 0 15,1 1 0-15,2-1 0 0,0 0 0 0,0-1 0 0,1 1-4 0,0-2 4 0,2 1-4 16,0-1 0-16,0-1 0 0,1 0-4 0,0-1 0 0,2 1 0 15,-2-2 0-15,1-1 4 0,1 1 0 0,-1-2-4 0,1-1 0 0,0 0 0 0,-1 0-4 16,1-1 4-16,0-1 0 0,-1 0 0 0,-1-2 0 0,0 2 0 0,1-1-4 16,-2-2 4-16,-1 2 0 0,1-2 0 0,-3 1-4 0,0-1 4 0,-2 0-4 0,0 0 0 15,0 0 4-15,-2 0-4 0,-2-1-4 0,-1 1 4 0,-2 0 0 0,-1 0 0 16,-2 1 0-16,0 0 4 0,-1 0-8 0,-2 0-4 0,-3 1 4 0,1 0 0 15,-1 2 4-15,-3-1-4 0,1 1 0 0,-2-1 8 0,1 2-8 0,-1 1 0 16,0-2 4-16,-1 3-4 0,1-1 0 0,-1 1-4 0,1 1 4 0,-1-1 4 0,1 1-4 16,0 0-4-16,0 2 4 0,0-1 0 0,2 2-4 0,1-1 0 0,-1 2 4 15,3-1 0-15,0 1 0 0,0 0-4 0,2 2 0 0,2 0 0 0,1 0-12 0,0 0-16 16,2 2-16-16,1-2-32 0,1 2-8 0,0-1 4 0,2 2 12 15,0 0 12-15,1-1 0 0</inkml:trace>
  <inkml:trace contextRef="#ctx0" brushRef="#br0" timeOffset="109775.2788">18588 7580 11 0,'5'4'32'0,"1"-2"0"0,1 2-4 0,1 0-4 0,0-1 0 0,0-1-4 16,1 1 0-16,1-1 0 0,0 0 0 0,0-1-4 0,2 1 4 0,-2-2-4 15,1 0-4-15,1-1 0 0,-1 0 0 0,2 0 0 0,-2-1 0 0,0 0 0 16,1-2-4-16,-1 1 0 0,0-2-4 0,0 0 4 0,0 0 4 0,-1-1-4 0,0 0-4 16,-1-1 4-16,-1 0 0 0,0-1 0 0,-1 1 0 0,-1-1-4 0,-2 1 0 15,1-2 4-15,-3 1 0 0,0 0 0 0,-2 0 0 0,-1 0-4 0,-1 0 0 0,-1 1 4 16,-2 0-8-16,-2 0 4 0,0 0 0 0,-2 1 4 0,-1 1-8 15,0 0 0-15,-2-1 4 0,0 2 0 0,-1-1 0 0,1 2-4 0,-1-1 0 0,-2 1 0 16,2 1 0-16,-2 0 0 0,2 1 0 0,-1-1 0 0,1 1 0 0,-1 0-4 16,2 1 0-16,-1 1 0 0,1 0 4 0,1 1-4 0,1 0 4 0,-1-1-4 0,3 2 0 15,0-1 0-15,3 2-8 0,-1-1-12 0,2 1-8 0,3 0-20 0,0 0-28 16,2-1 4-16,2 2 0 0,0-1 12 0,3 2 4 0</inkml:trace>
  <inkml:trace contextRef="#ctx0" brushRef="#br0" timeOffset="110088.2967">19203 7607 11 0,'5'2'40'0,"1"3"-4"0,0-2 0 0,-1-1 0 0,3 0 0 0,-2 1-4 0,1-2 0 16,0 1-4-16,-1-2 4 0,2 1 0 0,-1-2-4 0,0 1 4 15,0-1-4-15,1-1 0 0,-1 0-12 0,0-1 0 0,0 0 8 0,0-1-8 0,0 0 4 16,-1 0-4-16,0-2-4 0,-1 1 8 0,2-2-4 0,-2 2-4 0,-1-2 4 16,0 0-4-16,-1-1-8 0,0 1 8 0,-1-1-4 0,0 0 0 0,-1 0 8 0,-1 0-8 15,-1-1 0-15,-1 2 0 0,0-1-4 0,-1-2 0 0,-1 3-4 0,-1 0 4 16,-1-1 0-16,0 1 0 0,-2 1 0 0,0-2 0 0,0 3 0 0,-2-1 4 15,0 1-8-15,0 0 0 0,-1 1 0 0,1-1 4 0,-1 2-4 0,0 0 0 16,0 2 0-16,-1-2 0 0,1 1 4 0,0 2-16 0,0 0 4 0,1 0 4 0,1 1 0 16,0 0-4-16,-1 2 8 0,1-1-12 0,2 1 8 0,-1 1-4 0,2 1 4 15,1 0-12-15,1-1-12 0,1 2-8 0,0-1 0 0,2 0-8 0,0 1-12 0,1-1-24 16,1 0-12-16,0 1 8 0,1-1 8 0,1 1 12 0,1-1 4 0</inkml:trace>
  <inkml:trace contextRef="#ctx0" brushRef="#br0" timeOffset="110462.3181">19918 7371 19 0,'1'-5'48'0,"1"0"-8"0,-1 1 0 0,-1-1-4 16,0 0 0-16,1 2-4 0,0-2 0 0,-1 2-4 0,0 0-8 0,0-1-4 0,1 2-4 16,-1-1 0-16,0-1 0 0,0 2 0 0,0 1-4 0,0-1 0 0,0 0 0 15,0 2 0-15,0 0 0 0,0 1 4 0,1 0-4 0,-1 2-4 0,1-1 0 0,-1 2 4 16,0 0 0-16,1 1 0 0,0 1 0 0,0 0-4 0,0 2 4 15,0 0-4-15,0 1 4 0,-1 0 0 0,0 1 0 0,1 2 0 0,-1 1 4 0,0 0-4 16,0 1 4-16,0 2-8 0,0-1 12 0,-1 1-12 0,1 0 4 0,-1 1 8 16,0 0-4-16,1 1 0 0,0-2-4 0,-2 1 4 0,1 0-4 0,0-1 4 0,0 1-8 15,-1 0 12-15,1-2-8 0,0 0 0 0,-1 0-4 0,0-1 4 0,1 0-4 16,-1-1 4-16,0-1 0 0,1 1-4 0,-1-3 0 0,1 1 0 0,0-3 0 15,-1 0 0-15,1 1 0 0,0-3 0 0,0-1 0 0,1-1-8 0,0 0 8 16,-1-1 0-16,1 0-8 0,0-1 8 0,-1 0-4 0,1-1-8 0,0 0 4 0,0-1 4 16,0-1-16-16,1 0-4 0,0-1-16 0,-1-2-12 0,0 1-16 0,0-2-36 15,1 1-4-15,-1-3 12 0,0 0 8 0,0 0 12 0,-1-2 4 0,1 0 8 0</inkml:trace>
  <inkml:trace contextRef="#ctx0" brushRef="#br0" timeOffset="111360.3695">15184 8756 27 0,'6'1'32'0,"2"-1"-4"0,-1 1-4 0,0 1 0 0,2 0 0 16,0 0 0-16,0-1-4 0,0 3 0 0,2-2 0 0,-2 1-4 0,0 0-12 15,3 0 12-15,-2 0 0 0,1 1-4 0,-1-1 4 0,1 1-4 0,-1-1 0 0,2 2 0 16,-3-1 0-16,0 1-4 0,2-1 0 0,-3 0 0 0,1 1 4 0,-1-1-4 16,0 1 0-16,-1 0 0 0,-2 0 0 0,0-1-4 0,-1 2 4 0,0-1-8 0,-1 0 8 15,-1 1-4-15,0 0 0 0,-2 1 0 0,-1-1 0 0,-1 0 0 0,0 2-4 16,-3 0 0-16,1-1 0 0,-1 0 0 0,0 1 0 0,-2-1 4 0,-1 1-4 15,-1-1 4-15,1 2 0 0,-1-2-4 0,-2 0 4 0,2 1 0 0,-2-1 0 16,0-1-4-16,0 1 4 0,1-1 0 0,-2 0 0 0,2-1 4 0,-1 2-4 0,1-3-4 16,1 1 4-16,0-1 0 0,-1 0 0 0,2 0 0 0,0-1 0 0,2 0 4 15,-2-1-8-15,3 0 8 0,0-1 0 0,2 1-12 0,1-2 4 0,0 1-4 0,2-2 8 16,1 1 0-16,0-1 4 0,2 0-8 0,1 1-4 0,2-1 8 15,-1-1-4-15,4 1 8 0,-1 0-8 0,0 0 0 0,3 1 4 0,0-1 4 0,-1 0-4 16,3 0-4-16,-2 0 4 0,2 1-4 0,1 0 0 0,-1 0 12 0,2 0-8 16,-2 0 4-16,2 1 0 0,-1 1-12 0,1-1 12 0,-2 1 0 0,0-1-12 0,1 2 16 15,-1 0-12-15,0 0 4 0,-1 1 4 0,-2-1 0 0,1 2-4 0,-1 1 0 16,-2 1 4-16,1-1-8 0,-2 2 4 0,-2-1 12 0,0 2-12 0,-1 1 4 15,-2-2-4-15,2 2 0 0,-3 1 4 0,-1 0-8 0,-1-1 12 0,-1 2-12 16,-1 0 12-16,-1-2-8 0,1 1 0 0,-1 1-4 0,-2-1 4 0,1 0 4 0,-1 0-4 16,-2-1 0-16,1 1 0 0,0-1 0 0,-3 0 0 0,2-1-4 0,0 1 0 15,-1-2 4-15,-1 1-4 0,1-1 0 0,-1-1 0 0,0-1-4 0,1-1 4 0,-1 0 0 16,0-2-4-16,1 1 0 0,0-2-4 0,0 1 0 0,0-3-24 0,1 0-12 15,0 0-8-15,-2 0-16 0,3-2-28 0,1 0 0 0,-1-1 4 0,0-1 12 16,2 1 8-16,0 0 8 0,0-1 4 0</inkml:trace>
  <inkml:trace contextRef="#ctx0" brushRef="#br0" timeOffset="111967.4042">16347 8963 19 0,'3'-7'44'16,"-2"1"-8"-16,1 0 0 0,-1 1 0 0,2-2-8 0,-1 2 0 15,-1 0-4-15,1 0 4 0,-1 1-4 0,-1-1-4 0,1 1-4 0,1 0 0 0,-1 1 0 16,-1 0-4-16,0 1 0 0,0-1-4 0,0 1 4 0,-1 0-4 0,1 1 0 16,0 0-4-16,0 0 0 0,0 1 0 0,1 1 0 0,-1 0 0 0,1 0 0 0,0 1-4 15,-1 0 0-15,1 1 0 0,0-1 0 0,0 1 0 0,0 1-8 0,-1-1-8 16,1 3-16-16,-1-2-24 0,1 0-24 0,-1 0 4 0,0 1 8 0,0 0 8 15,-1 2 8-15</inkml:trace>
  <inkml:trace contextRef="#ctx0" brushRef="#br0" timeOffset="112122.4131">16328 9155 31 0,'0'1'28'16,"0"-1"0"-16,1 0-4 0,-1 0-4 0,0-1 0 0,0 1 0 0,1 0-8 0,-1-2 4 15,0 1-4-15,0 1 0 0,1-1-4 0,-1 0 0 0,2 1 0 0,0 0 0 16,-1 0-4-16,1-1-4 0,0 1-4 0,-1-1-8 0,1 1-28 0,0-1-28 15,-1 1 4-15,1 0 8 0</inkml:trace>
  <inkml:trace contextRef="#ctx0" brushRef="#br0" timeOffset="112923.4589">17656 9005 3 0,'4'3'20'0,"-1"1"4"0,0-1 0 0,1 2 0 0,1 0 0 0,-1-1-4 15,1 2 0-15,1-2 0 0,0 1 0 0,1 1-4 0,-1-1 0 0,1 0 0 0,1-1 4 16,-1-1 0-16,2 1-4 0,-1-1 0 0,1-1 0 0,0 1 0 15,0-1 0-15,1-2 0 0,-1 0-4 0,0 0 0 0,2-2 0 0,-1 0-4 0,-1-1 4 16,2 0 0-16,-2-1 0 0,0-1-4 0,0 0 0 0,1-1 0 0,-1-1 0 16,-1 1-4-16,0-2 0 0,0 0 0 0,-1 0 4 0,-1 0 0 0,-1-1-4 0,2 0 4 15,-3-2 0-15,0 2 0 0,-1-1-4 0,-2 1 4 0,0-1-4 0,-1 0 4 16,-1 0-4-16,-2 1 4 0,-1-1-8 0,0 2 8 0,-4-1 0 0,2 1-8 15,-3-1 4-15,0 1-4 0,-3 1 0 0,1 0 0 0,-2 1 0 0,0 0 0 16,0 0 4-16,-2 1-8 0,0 0 8 0,0 1-4 0,-1 0 0 0,0 2 0 0,0-2 4 16,-1 3-4-16,0-1 0 0,1 2 0 0,0-2-4 0,0 2 0 0,0 2 0 15,1-1 4-15,0 0-4 0,1 2 8 0,2 0-4 0,-1 1 4 0,1-1-8 0,1 2 4 16,2 0 4-16,1-1-4 0,2 2-8 0,-1 0 4 0,3 0 0 0,0 1 0 15,2 0-8-15,0-1-8 0,2 2-12 0,0-1-20 0,2 0-20 0,0-1-20 16,2 1 8-16,0 0 12 0,2 0 12 0,-1-1 4 0</inkml:trace>
  <inkml:trace contextRef="#ctx0" brushRef="#br0" timeOffset="113572.4959">18446 9057 3 0,'1'7'28'0,"3"-2"0"16,-2 2 0-16,1 0-4 0,3 0 0 0,-2 0-4 0,0-1 4 0,1 1-4 16,0-2 0-16,1 2 0 0,2-2 0 0,-1 0 0 0,0-1-4 0,1 0 0 15,1 0 0-15,-1-1-4 0,1 0 0 0,1-2 4 0,-1 0 0 0,0-1-4 0,1 0 4 16,1-2-4-16,-1 1 4 0,0-3-4 0,0 2 0 0,0-2 4 0,-1 0-12 15,1-2 8-15,0-1 0 0,-1 2-4 0,0-2 0 0,0 0-8 0,-1-1 12 0,0 1-8 16,0-2 8-16,0 1 4 0,-3 0 0 0,1 0 0 0,1-2-8 16,-3 2 0-16,-1-2 8 0,0 2-12 0,-2-1-4 0,-1 0 12 0,0 1-12 0,-2 0 4 15,-1-1 8-15,-1 1-12 0,-2 0 0 0,0 1 8 0,-1-1 0 0,-1 2-12 16,-2-1 4-16,1 2 4 0,-2-1 0 0,0 2-4 0,-1-1 0 0,0 1 0 0,-2 0 8 15,2 2-4-15,-3 0 0 0,2-1-8 0,-2 2 8 0,1-1-4 0,-1 2 0 16,1 0 0-16,1 0 0 0,-1 0 0 0,1 0 0 0,-1 1 0 0,3 1 0 16,-2-1 0-16,3 1-4 0,1 1 8 0,0 0-8 0,0 1 8 0,3-2-4 0,0 1 0 15,2 1-4-15,-1-1-16 0,2 1-16 0,0 1-8 0,1-2-16 0,2 1-24 16,0 0-12-16,0-1 8 0,2 1 12 0,0 0 8 0,1-1 4 0</inkml:trace>
  <inkml:trace contextRef="#ctx0" brushRef="#br0" timeOffset="114076.5248">19057 9133 3 0,'5'4'32'0,"0"1"-4"0,1-2 0 0,1 2-4 0,-1 0-4 15,1 0 0-15,-1 0 0 0,3 0-4 0,-2 0 0 0,0-1 0 0,1 2 0 0,1-2-4 16,-2 0 0-16,1 1 0 0,1-2 4 0,-1 2 0 0,0-1-4 0,0-2 0 15,0 1 0-15,0 0 4 0,0-2-4 0,-1 1 0 0,0-1 0 0,2 1 0 0,-3-2 0 16,1 1 0-16,-1-1 0 0,-1 0 0 0,3-1 0 0,-3-1 0 16,0 1 0-16,0-1-4 0,0-1 4 0,1 1 0 0,-2-2-4 0,0 1 4 0,0-1-4 15,0 0 0-15,-1-2 4 0,-1 1-4 0,1-1 0 0,-1 0 0 0,-1-1-4 16,2 0-4-16,-3 0 8 0,1-1 0 0,-2-1-4 0,-1 1-8 0,0 0 4 0,0-1 8 15,-1 0-8-15,0 0 8 0,-1 0-8 0,0-1-4 0,-1 1 12 0,-2-1-4 16,1 2-8-16,-2-1 4 0,1 1 0 0,-1-2-4 0,-2 3 4 0,0 2 4 16,0-3-12-16,-1 1 4 0,-1 1 12 0,0 0-8 0,0 2 8 0,1 0-4 15,-2 0 0-15,1 1-8 0,-1 0 8 0,1 2-12 0,1 0 4 0,-2 1 0 0,2 0 8 16,0 0-8-16,0 0 12 0,1 2-12 0,1-1 8 0,-1 2-4 0,1-1 4 15,1 2-8-15,2-2 4 0,-2 2 0 0,2 0-4 0,1 0-4 0,1 0-8 0,1 0-8 16,0-1-8-16,-1 2-8 0,4-2-4 0,-2 1-24 0,2-1-20 16,0 1 4-16,0-1 12 0,1 0 8 0,0-1 8 0</inkml:trace>
  <inkml:trace contextRef="#ctx0" brushRef="#br0" timeOffset="114709.561">20056 8740 39 0,'3'-5'44'16,"2"1"-8"-16,-1 0 0 0,-1 1-4 0,1 0-8 0,-1 1 4 0,1-1-4 16,0 2 0-16,-1 0 0 0,1 1-4 0,-1 0-4 0,0 1 0 0,-1 2 4 15,1 0 4-15,-2 1-8 0,2-1 0 0,-1 2 4 0,-2 1-4 0,2 0 0 0,-1 2 0 16,0-1 0-16,1 2 4 0,-1-1 0 0,0 4-8 0,0-1-4 0,0 0 4 15,0 2-8-15,1 1 12 0,-1-1-12 0,-1 1 8 0,0 2 4 0,0-1-8 0,0 1-4 16,0 0 4-16,-1 0 0 0,-1 1-8 0,1 0 12 0,0 0-4 16,1 0-4-16,-2 0 4 0,1-2-8 0,0 2 12 0,0-2-8 0,1 1-4 0,0-2 4 15,-1-1-8-15,0 0 12 0,0 0-4 0,0-1-4 0,1 0 0 0,0-2 4 16,0 0 0-16,0 0 4 0,0-2-8 0,0-1 0 0,0 0 8 0,1-2-4 0,-1 1-8 15,1-2 8-15,0 0-4 0,0-2 8 0,0-1-8 0,0-1-4 0,1 0 0 16,-1 0 0-16,0-3-12 0,0 1-8 0,-1-1-12 0,2-1-8 0,-2-2-24 16,0 1-24-16,-2-1-8 0,1-1 12 0,0 0 4 0,-1-1 12 0,-1 0 8 15,1 0 4-15</inkml:trace>
  <inkml:trace contextRef="#ctx0" brushRef="#br0" timeOffset="115612.6127">14946 9969 27 0,'5'-6'36'0,"-1"0"0"0,-1 0-4 0,-1 1 0 0,0 1-4 16,0-1-4-16,-2 1 0 0,0 1-4 0,0 1 0 0,-2 2 0 0,-1-2-4 0,1 4 0 15,-1-1-4-15,-1 2 0 0,-1 1 0 0,0 2-4 0,0-1 8 0,-1 3-8 16,0 0 0-16,-1 0 0 0,0 2 0 0,1-2 0 0,-2 2 0 0,1 1-4 16,-2 0 0-16,1 0-4 0,1 0 4 0,-2 1 0 0,1 0 0 0,1 0 0 15,0 1 0-15,-2-1 0 0,2 1 0 0,0-1-4 0,1-1 0 0,-1 1 0 0,1-1 0 16,1 0 0-16,1-1 0 0,0 0 0 0,2-1 4 0,-1 0 0 0,2-2-4 15,1 2 4-15,0-4-4 0,2 1 4 0,1-1 0 0,0 1-4 0,1-2 4 0,1-1 0 16,2 0 0-16,-1-1 0 0,1 1 0 0,1-3 0 0,1 1 0 16,1 0 0-16,0-1 4 0,1 0-8 0,0-1 0 0,0 0 4 0,3 1 0 0,-2-2 4 15,2 1-8-15,-1 0 0 0,0-2 4 0,2 2-4 0,-1-1 0 0,2 0 4 16,-2-2-4-16,2 2 4 0,-2-2 4 0,2 1-8 0,-2-1 0 0,2 1 0 0,-2-1 0 15,1 1 4-15,-1-1 0 0,1 0-4 0,-2 0 4 0,1 1-4 0,-2-1 0 16,-1 2 0-16,2-3 0 0,-2 2 0 0,0 0 0 0,0 1 0 0,-2-1 0 16,-1 0 0-16,1 1 0 0,-1-1-4 0,-1 1 4 0,0 1-4 0,0-2 0 15,-1 1 0-15,-1 1 4 0,-1 0 0 0,0-1 4 0,-1 1-4 0,0 1-4 0,-1-1 0 16,1 0-4-16,-2 1-4 0,-1 0-8 0,0 0-4 0,-1 0-8 0,-2 0-8 15,2 0-28-15,-2 0-12 0,0-1 0 0,0 1 8 0,-2 0 12 0,2-1 8 0</inkml:trace>
  <inkml:trace contextRef="#ctx0" brushRef="#br0" timeOffset="116371.6561">15402 10187 15 0,'-1'0'20'0,"0"0"-4"0,1 0 4 15,-1 0 0-15,1 0 0 0,0 0 0 0,0 1-4 0,1-1-4 0,0 1 0 0,0-1 0 16,0 1 0-16,0-1 0 0,1 2 0 0,0-1-4 0,-1 0 0 0,3 1 4 16,-2-1-4-16,1 2 4 0,-1-1-4 0,1 1 4 0,-1-1-4 0,1 1 4 15,1-1-4-15,-1 2 0 0,0-1 0 0,1 1 0 0,0-1 0 0,-1 2 0 0,1-2 0 16,-1 2 4-16,1-1-4 0,0 1 4 0,-1 0 0 0,-1 0-4 0,3 0 0 15,-3 0 4-15,1 1-16 0,-1 0 16 0,0 0 0 0,-1 0 4 0,-1 0-4 16,0 1 4-16,0 0-4 0,-1 0-4 0,-1 0 8 0,0 1-8 0,-2 0 4 16,0 0 4-16,0-1-12 0,-1 2 4 0,-1-1 4 0,0 1 0 0,-2 0 0 0,0-1 0 15,0 2-16-15,-1-2 4 0,-2 2 12 0,0-2-12 0,1 2 8 0,-3-2-4 16,1 0 4-16,-1 2-4 0,0-2-4 0,-1 1 0 0,0-1-4 0,0-1 4 0,-1 1 4 15,1-1 0-15,-1 0-4 0,0-1 4 0,0 0 4 0,2-1-8 0,-2 0 0 16,2 0 0-16,-1-1 8 0,2-1-8 0,-1-1 4 0,1 1 0 0,0-1 0 16,2-1-4-16,-1 0 0 0,2-1-12 0,1 0 4 0,-1-1-4 0,1 0-12 15,2-1-8-15,0-1-4 0,1-1-4 0,-1 1-16 0,3-1-16 0,-1-1-20 0,2 0 8 16,0 0 12-16,1-1 8 0,0 0 8 0</inkml:trace>
  <inkml:trace contextRef="#ctx0" brushRef="#br0" timeOffset="116747.6776">14970 9874 23 0,'-5'-4'20'0,"-1"0"0"0,2 1 0 0,0 0-4 0,-1 0 4 0,3 1-4 0,-1-1 0 15,2 2 0-15,2 0-4 0,1 1 4 0,0 0 0 0,3 1-4 0,0-1 0 16,-1 1 0-16,3 1 4 0,0 0-4 0,3 0 4 0,-2 0 0 0,2-1-4 15,0 1 0-15,1 1 0 0,1-1 0 0,0 1 0 0,0-1 4 0,2-1-4 0,0 1 0 16,-1 0 4-16,2 1-4 0,0-3 0 0,1 2 0 0,-1 0 8 16,1-1-8-16,-1-1 0 0,1 1 4 0,-1 0 0 0,0-1-4 0,0 0 4 0,-1 0-4 0,-1 0-4 15,0-1 4-15,-1 1 0 0,-1-1-8 0,0 1-4 0,-1-1 8 16,-1-1 4-16,0 1-4 0,-1 0-4 0,-1 0-4 0,-1-1 8 0,0 2 0 0,-1-2 0 15,0 0 0-15,-1 2-8 0,0-1 4 0,-2 1-4 0,1-2-4 0,-2 2 4 16,0 0 4-16,0 0 4 0,0 0-4 0,-1 0 0 0,-1 0-4 0,0 0 0 16,0 2 0-16,0-2-8 0,1 1-12 0,-1 0-20 0,0 0-8 0,0 1-28 0,0 0-24 15,0-1 8-15,1 1 8 0,0 1 8 0,0-1 8 0,2 0 8 0</inkml:trace>
  <inkml:trace contextRef="#ctx0" brushRef="#br0" timeOffset="117181.7024">16073 9973 23 0,'2'-2'32'0,"1"-1"0"0,0 1 0 0,-1 1-4 0,0-1-4 16,0 1 0-16,1 0 0 0,0 1-4 0,-2 0-4 0,1-1-4 0,0 1 0 15,0 0 4-15,0 1 0 0,-1-1-4 0,0 0 0 0,0 1 0 0,0 0 0 16,-1 0-4-16,0 0 0 0,1 1 0 0,-1-1-4 0,1 0 0 0,-1 1 0 16,0 0 0-16,0-1 0 0,0 1 0 0,0 0 0 0,0-1-4 0,0 1 0 0,-1 0 4 0,1-1 0 15,0 1-4-15,0-1 0 0,0 1 0 0,0-1 0 0,0 2 0 16,0-1 4-16,0-1-4 0,0 1 0 0,-1-1-4 0,1 1 0 0,0 0 4 0,1-2 0 15,0 2-4-15,0-1-8 0,0-1-16 0,0 1-16 0,-1-1-24 0,1 1-4 16,0-1 4-16,0 0 8 0,0 2 8 0</inkml:trace>
  <inkml:trace contextRef="#ctx0" brushRef="#br0" timeOffset="117534.7226">16163 10315 3 0,'0'0'12'0,"-1"2"-4"0,0-1-4 0,1 0 4 0,0-1 8 0,-1 1-8 0,1 0 4 15,-1 0-8-15,1-1 0 0,-1 1 8 0,1-1 0 0,0 1 4 0,0-1 0 16,1 0 0-16,0 0 0 0,0 0 0 0,0-1 0 0,0 1-4 0,2-2 0 0,-2 0 0 15,2 1 0-15,-1 0-4 0,0-1 0 0,0 0 0 0,1 1 0 0,0-1 0 16,0 0 0-16,-1 1-4 0,1-1 0 0,-2 0 4 0,2 0-4 0,-2 1 0 0,2-1 0 16,-1 1 0-16,-1 0 0 0,2 1 0 0,-2-2 0 0,1 1-4 15,0 1 4-15,-2 0 0 0,1 0-4 0,-1 0 0 0,0 1 4 0,0 1 0 0,-1-1-4 16,1 2 4-16,-2-1-4 0,0 1 0 0,1-1 0 0,-2 1 4 0,2 0 0 15,-2 1 0-15,1-1 0 0,0 0-4 0,0 0 0 0,-1 0 0 0,1 1 0 0,0-1 0 16,0 0 0-16,-1 0 0 0,0 1 0 0,2-1 0 0,-2-1 0 16,2 1 0-16,-1-1 4 0,1 0-4 0,0 0 0 0,0 0 0 0,1-1 0 0,0-1 0 0,0 1-8 15,1-1-4-15,0-1-20 0,0 1-24 0,1-2-16 0,-1 1 0 16,2-1 12-16,-1 0 8 0</inkml:trace>
  <inkml:trace contextRef="#ctx0" brushRef="#br0" timeOffset="118732.7911">17108 10253 11 0,'1'5'32'0,"2"0"-4"0,0 0 0 0,0 0-4 16,1 0 0-16,0 0-4 0,0 1 4 0,0-2-4 0,2 2 4 0,-1-2-8 15,0 1 0-15,0 0 4 0,2-1-4 0,0 1 0 0,-2-2 0 0,2 1 4 0,0-1-8 16,0 0 4-16,1-1 0 0,0 1 0 0,0-1 0 0,-1-1-4 0,2 0 0 16,-1-1-4-16,0 0 4 0,1 0 0 0,-1-1 0 0,0 0 0 0,0-2-4 0,1 1-4 15,-2-1 8-15,2 0-4 0,-2 0 0 0,1-2-4 0,0 1 4 16,-1-1 0-16,0 1-4 0,1-1 4 0,-1-2-8 0,-2 1 4 0,2 0 4 0,-1-1 4 15,0 1 0-15,-1-2-12 0,1 0 12 0,-2 0-12 0,1-1 4 0,-1 1 4 16,0 0-4-16,0-1 0 0,-1 0 4 0,-1 0 4 0,0 0-4 0,0 0-4 0,-1 1 4 16,-1-1 4-16,0 0-4 0,0-1 0 0,-1 1-8 0,0 1 8 0,-2-1 0 15,1 0 0-15,-1 0 0 0,-1 0-4 0,-1 1-4 0,0 0 8 0,-1 1-4 16,-1 0-4-16,0 0 0 0,-1 1 0 0,-1-1 0 0,0 2 8 0,-1 1-12 0,1-1 8 15,-2 2 0-15,-2-2-4 0,2 3 4 0,-1-1 0 0,-1 2-12 0,2 0 8 16,-3 0-4-16,1 1 12 0,1 1-8 0,-2 0-4 0,2 0 4 0,-2 2 0 16,3-1 0-16,-2 3 4 0,2-2-4 0,0 1 4 0,0 1-8 0,2 0 8 0,0 1-12 15,-1 0 4-15,2 0 0 0,2 1 0 0,0 0 0 0,1 0-8 0,1 0 0 16,0 0-16-16,1 1-8 0,2-1-4 0,0-1 0 0,1 1 0 0,1 0-20 15,-1 0-16-15,3-2-16 0,-1 2 12 0,3-1 8 0,-1-1 8 0,1 1 4 0</inkml:trace>
  <inkml:trace contextRef="#ctx0" brushRef="#br0" timeOffset="119452.8323">18036 10223 11 0,'1'3'28'0,"2"0"0"15,-1-1 0-15,1 2 0 0,0 0-8 0,0-1 0 0,1 1 0 0,1-1-4 16,-1 1 0-16,0-1-4 0,1-1 0 0,0 3 0 0,0-1 0 0,0-1 0 0,2 0 0 16,-1 0-4-16,-1 0 0 0,1 0 0 0,0 0 0 0,1-2 0 0,0 0 4 15,-1 0-8-15,1 0 4 0,1-1 0 0,-1 0 0 0,0-1 0 0,0 0-4 16,0-1 4-16,2 0 0 0,-3-1-8 0,2 1 8 0,-1-3 0 0,1 0-4 15,0 0 0-15,-1 0 0 0,0 1 0 0,1-2 0 0,-1 0 0 0,-1-1 0 0,1 0-4 16,-1-2 8-16,1 2-4 0,-2-1 0 0,1 0 0 0,-2-1 0 0,1 0-4 16,1-1 4-16,-2 2 0 0,0-2 0 0,-1 0 4 0,-1 1-4 0,0 0 4 0,0 0-4 15,-1 0 4-15,-1-1 0 0,-1 2 0 0,0-2 0 0,-2 2 0 16,1-2-4-16,-1 2 0 0,-1 0 4 0,-1 1 0 0,-2 0-4 0,0-2 4 0,1 2-4 15,-2 1 4-15,-2 0-4 0,1 1 0 0,-2 0 0 0,-1 1 0 0,1 0 0 16,-1 1 0-16,-2 0-4 0,1 1-4 0,-2 0 4 0,1 1-4 0,-1 1 16 0,1 0-4 16,-2 0 0-16,1 2-4 0,-1-1-4 0,2 1 8 0,-2 1-16 0,2 1 8 15,-1-1-4-15,2 1 12 0,-1 1-8 0,2-1 4 0,0 2 0 0,0-1-8 16,2 1-4-16,0 1 4 0,0-2 8 0,2 2 0 0,0 0-4 0,3-1 0 0,-2 1 4 15,3-1-4-15,1 1-8 0,0-1 0 0,1 0-12 0,1 0-12 16,1 0-4-16,0 0-20 0,1-1-24 0,1 0-12 0,0 0 8 0,1-1 8 0,0 0 12 16,1 0 8-16</inkml:trace>
  <inkml:trace contextRef="#ctx0" brushRef="#br0" timeOffset="121073.925">19211 9926 23 0,'-1'-2'36'0,"-1"0"-4"0,1-1-4 0,0 1 0 16,1 0-4-16,-1 0-4 0,0 1 4 0,0-1-4 0,0 2 0 0,1 0 0 0,-1 0 0 16,0 0 0-16,1 2 0 0,0 0-4 0,1 1 0 0,-1-1 0 15,1 2 8-15,-1 1 0 0,1-1-4 0,0 1 0 0,0 0 0 0,0 2 4 0,-1-1 0 16,1 0-8-16,1 2 8 0,-1-1-4 0,0 2 4 0,-1 0-8 0,2 0 8 15,-1 1 0-15,0 0-4 0,-1 0 0 0,1 1 4 0,0 1-12 0,-1-1 8 0,1 1-4 16,-1 1 0-16,1-1 0 0,0 0 4 0,-1 1-4 0,0-2-4 0,1 2 0 16,-1 0 0-16,0-1 0 0,1 0 0 0,-1 1 0 0,0-1-8 0,0 1 4 15,0-2 0-15,0 1 0 0,0-1-4 0,0 0 4 0,0-1-4 0,0 1 4 0,1 0 0 16,-1-1 0-16,0-1 0 0,0 1-4 0,1-1 4 0,-1-1-4 0,0 1 4 15,0-1 0-15,1-1-4 0,0-1 4 0,0 2-4 0,-1-1 0 0,0-3 0 0,1 1 0 16,-1 0 0-16,0 0 0 0,2-2 0 0,-2 1 0 0,0-1 0 0,0 0 0 16,0-1 0-16,0 0 0 0,0 1 0 0,1-2-4 0,-1 0 4 0,0 0-4 15,0 0 0-15,0 0 0 0,0-1-4 0,-1 0-4 0,1-1 0 0,0 0-12 16,-2 0-4-16,2-1-16 0,-1-1-12 0,0 0-12 0,-1 0-12 0,2 0-24 0,-2-2-24 15,0 2 4-15,1-2 16 0,-2-1 12 0,2 1 8 0,-3-1 12 0,2-1 8 16,-1 0 8-16</inkml:trace>
  <inkml:trace contextRef="#ctx0" brushRef="#br0" timeOffset="125068.1535">15546 11292 31 0,'-2'-9'32'0,"-1"1"0"0,1 0-4 0,-1-1 0 0,-2 0-4 0,2 2 0 16,-1-3 0-16,1 2 0 0,-2-1 0 0,1 1 0 0,-1-1-4 0,0 1-4 0,0 0 0 15,-1 0 0-15,0 1-4 0,0-2 4 0,-2 3 0 0,1 0-4 0,-1-1 4 16,-1 2-8-16,0 0 0 0,-1 0 4 0,0 1-4 0,-1 1-4 0,0 1 4 0,0 1-4 16,-3 1 0-16,2 0 0 0,-1 0 4 0,0 3 0 0,0-1 0 15,-1 1 0-15,0 1 0 0,0 1-4 0,1 1 0 0,0 0 0 0,1 0-4 0,-1 2 0 16,1 0 0-16,1 0 0 0,0 1 8 0,2 0 0 0,0 0-8 0,0 1 4 15,2 0-4-15,1 0 0 0,1 0-4 0,1 1 8 0,1-1-8 0,1 0 12 0,1-1 0 16,1 0-12-16,2 0 8 0,0 1-8 0,2-3 8 0,1 1-4 0,0-1 4 16,4-1-4-16,-1 0 4 0,1-1-8 0,1-1 4 0,1 0 4 0,1-2 0 15,0 1 0-15,1-2-4 0,1 0-4 0,0 1 8 0,0-2 0 0,2 0-4 16,-1-2 0-16,1 2 0 0,-1-1 0 0,1 0-4 0,0 0 4 0,0-1 4 0,-1 2-4 15,1-2 0-15,-1 1 0 0,1 1 4 0,-1-1 0 0,0 1 0 0,-2 1-4 16,2-1-4-16,-2 1 4 0,0 2 0 0,-2 0 0 0,1 1 0 0,-1 1 0 0,-1 1 0 16,-2 1 0-16,1 2 4 0,-2 0 0 0,-1 2-4 0,0 1 0 15,-2 2 0-15,-1 1 4 0,1 0-4 0,-2 3 0 0,-1 1 4 0,-1 1 4 0,-1 1 0 16,-1 1-12-16,0 0 12 0,-2 2-8 0,0-1-4 0,0 1 12 0,-1 1 0 15,-1 1 0-15,-1 0 0 0,1 0-8 0,-1 1 0 0,0-2 8 0,0 1-16 0,-1-1 16 16,0 1-8-16,2-2 0 0,-2 0 4 0,2 0-8 0,-2-2 8 0,3 1-12 0,-2-3 8 16,2-1 0-16,-2-1 4 0,3-1-12 0,-1-1 16 0,2-1-8 15,0-2-8-15,0-1 12 0,0 0-4 0,1-2-8 0,0-1 16 0,1-1-8 0,0-1-8 16,1 0 16-16,0-2-16 0,0-2 16 0,1 1-16 0,1-1 0 0,-1-2 4 15,0 0 4-15,1-1-4 0,0-1-8 0,-1 0-12 0,2-1-4 0,-2-1-4 0,1 0-12 16,0 0-8-16,-1-1-20 0,0-1-16 0,0 0 8 0,0-1 8 0,-1 0 8 16,1 0 8-16</inkml:trace>
  <inkml:trace contextRef="#ctx0" brushRef="#br0" timeOffset="126017.2078">16398 11317 19 0,'-1'-2'28'0,"-2"2"-4"0,1-1 0 0,0-1 0 15,0 1-4-15,0 1 0 0,-1-1-8 0,0 0 0 0,1 1 4 0,-2 0-4 16,2 0 0-16,-1 0-4 0,1 0 0 0,-2 1 0 0,2 0-4 0,0 0 4 0,-1 1 0 16,1-2-4-16,-1 1 0 0,1 0 4 0,-2 1 0 0,2-2-4 0,0 2 0 15,-1-1 0-15,0 0-4 0,-1 0 4 0,2 1 0 0,-1-1 0 0,1-1-4 16,0 2 0-16,0-1 0 0,-1 0 0 0,2-1 0 0,-1 2 4 0,1-1-4 0,-1-1-4 15,1 0 4-15,0 2 4 0,0-2-4 0,1 0 0 0,0 0 4 0,0 0-4 16,0 0 0-16,1 0 0 0,0 0 0 0,1 0 0 0,-1-2-4 0,1 2-4 0,0-1-12 16,-1 0-8-16,2 0-20 0,-2 0-20 0,1 0 4 0,0 1 8 15</inkml:trace>
  <inkml:trace contextRef="#ctx0" brushRef="#br0" timeOffset="127862.3133">17493 11386 11 0,'-2'4'32'15,"1"0"-4"-15,-1 0 0 0,2 1-4 0,-1-1 0 0,1 0-4 0,1 0-4 0,-1 1 0 16,3-2 0-16,-1 2 4 0,2 0-4 0,0-1 4 0,2 0-4 0,0-1 4 16,0 1-4-16,0-1 4 0,2 0-4 0,1-1 4 0,-1 0 0 0,0 0 0 15,3-2 0-15,-2 1 0 0,1-2 0 0,2 1-4 0,-2-2 0 0,1-1-4 16,1 1 4-16,-1-1-4 0,0-1 4 0,1 0-4 0,0-2-8 0,-1 1 8 0,0 0 0 15,0-2-4-15,0 2 4 0,-1-4-16 0,0 2 16 0,0 0-8 0,-2-2 4 16,0 2-12-16,-1-1 12 0,0-1 0 0,-1 0-4 0,-1 2-4 0,-1-2 8 0,-1 1-4 16,0 0 0-16,-2 0 0 0,-1 0 4 0,-1 1-4 0,-1-1-8 15,-1 1 8-15,-2 1 0 0,0 0 4 0,-1 0-8 0,-3 1 4 0,1 0-4 0,-2 0 0 16,-1 1-4-16,1 1 4 0,-3-1 8 0,0 2-4 0,1-1 0 0,-3 2-4 15,1 0 0-15,-1-1-4 0,1 2 12 0,-2 0-12 0,2 2 4 0,-1-1 0 0,0 0-4 16,0 0 0-16,1 1 8 0,0 0-8 0,1 2 8 0,0-2-12 0,0 1 8 16,2 0 0-16,0 1-4 0,1-1 4 0,1 1 8 0,1 0-12 0,0 1 4 15,1-1 0-15,1 0 0 0,2 0 0 0,0 1 4 0,2 0-8 0,-1-1-8 0,2 1 12 16,1 0 0-16,0-1-12 0,1 1 0 0,1 0-8 0,0-1-8 0,1 0-8 15,1 1-4-15,0 0-12 0,1-2-16 0,0 1-20 0,2 0 4 0,-1-1 8 0,2 1 8 16,-1-2 8-16</inkml:trace>
  <inkml:trace contextRef="#ctx0" brushRef="#br0" timeOffset="128185.3318">18388 11298 7 0,'3'0'40'0,"0"2"-4"0,1-1-4 0,-2 1-4 0,0 0-4 0,0-1-4 16,0 2 4-16,0-1-4 0,0 1 0 0,-1 0-4 0,0 1 0 0,1 0-4 15,-1-1 4-15,0 2-4 0,0-1 0 0,0 2 0 0,-1-1 0 0,1 1 0 0,-1 0 0 16,0 1 0-16,1 1 0 0,0 0-4 0,0 1 4 0,1 1 0 0,-2 2 0 15,1-1-4-15,1 1 4 0,0 1 0 0,-2 2 0 0,1-1 0 0,0 1-4 16,0 1-4-16,-1 0 8 0,0 1-4 0,1 0 0 0,-1 1-4 0,-1-2 0 0,1 2 0 16,0 0 0-16,-1-1 0 0,1 0 0 0,-1 1 0 0,0-2 0 0,1 1-4 15,-2-2 4-15,1 1-4 0,1-1 0 0,-1-1 4 0,0 0 0 0,0-2-8 16,0 1 8-16,0-2-4 0,0-1 0 0,0-2 8 0,1 1-8 0,0-1 0 0,-1-2-4 15,0 0 0-15,0-2-4 0,0 0-4 0,1-1-12 0,-1-1-8 0,1-2-12 16,-2 0-28-16,1-1-20 0,0-1 8 0,0-1 8 0,-1-1 12 0,1-1 8 16</inkml:trace>
  <inkml:trace contextRef="#ctx0" brushRef="#br0" timeOffset="130605.4702">16368 11575 23 0,'-1'-2'48'0,"-2"1"0"0,2 0-4 0,-1 0 0 15,0-1 0-15,1 1 0 0,-1-1-16 0,1 1 16 0,0-1 0 0,-1 1 0 16,0-1-8-16,1 1 4 0,-1-1-8 0,0 1 4 0,1-1 0 0,-1 0-4 16,1 2 4-16,0-1-4 0,0 0 0 0,0 1-8 0,0-1 4 0,1 1-8 0,-1 0-4 15,1 0 0-15,0 0 4 0,0-1-4 0,0 1-4 0,-1-1 0 0,1 1 4 16,0 0-4-16,0 0-4 0,0 0 0 0,0 0 0 0,0 0-4 0,0 0 0 0,0 0 4 15,0 0-4-15,0 1 0 0,1-1 0 0,-1 0 4 0,0 1-4 0,0-1-4 16,1 0 4-16,-1 1-4 0,0-1 4 0,0 1-4 0,0-1 4 0,0 1-4 16,0-1 0-16,0 0 0 0,0 2 0 0,0-2 0 0,0 0 4 0,0 0-4 15,0 0 0-15,0 1 0 0,0-1 0 0,0 0 0 0,0 1 0 0,1-1 0 0,-1 0 0 16,0 0-4-16,0 0 0 0,0 1 4 0,0 0-4 0,1-1 0 0,-1 0-8 15,0 0-12-15,0 0-8 0,1 0-12 0,-1 0-20 0,1 0-16 0,-1-1-20 0,0 0-20 16,0 1 8-16,0 0 16 0,0 0 12 0,0 0 4 0,0 0 8 0,0 0 12 16</inkml:trace>
  <inkml:trace contextRef="#ctx0" brushRef="#br0" timeOffset="132104.5559">14983 12647 31 0,'-6'-1'36'0,"1"-2"-4"0,0 1-4 0,1 1 0 0,0-2-4 0,-1 1-4 16,1 0-4-16,-1 1 0 0,2-1 0 0,0 1-4 0,0 0 4 0,2 0-4 15,0 1 0-15,1 0-12 0,0 0 12 0,2 1 0 0,0 1 0 0,0 0 0 0,3-1 0 16,0 1-4-16,2 2 4 0,0-2 0 0,0 1 0 0,3 1-4 0,-1-1 0 16,2 1 0-16,1-1 0 0,0 1 0 0,1-1 0 0,2 1 4 0,-1-1-4 15,3 0 0-15,-1 0 0 0,2 1 0 0,0-2 0 0,0 1 0 0,1-1 0 16,0 0 0-16,1 1 0 0,0-1 0 0,-1-1 0 0,1 0-4 0,1 1 4 0,-3-1-8 15,1-1 4-15,-1 0 0 0,1 1 0 0,-2-1 0 0,-1 0 0 0,0 1-4 16,-1-1 4-16,-1 1 0 0,-1-1 4 0,-1 1-4 0,-1 1-4 0,-1 0 8 16,-2 1-8-16,1 0 8 0,-3 2 0 0,0-1-8 0,-2 2 8 0,-1 1-4 15,0 0 4-15,-2 2 0 0,0 0-8 0,-1 2-4 0,-1 0 0 0,0 1 0 0,-2 1 0 16,0 0 0-16,0 0 4 0,-1 3 0 0,0-2 4 0,-1 3 8 0,0-2-12 0,0 2 4 15,-1 1 4-15,0-2 0 0,0 2-16 0,0-1 8 0,-1 2 8 0,1-2-12 16,0 1 8-16,0 0 0 0,0-1-4 0,0 1-4 0,0-1 4 0,1-1 0 16,-1 0 0-16,1-1 0 0,0 0 0 0,1-1-4 0,0 0 4 0,0-2 0 15,1 1 8-15,-1-2-12 0,2 1 4 0,0-2 0 0,-1-1 4 0,1 0-4 0,-1 0-8 16,1-2 16-16,1 1-8 0,0-2 0 0,0 0 0 0,0-1-4 0,0 0 4 15,1-1 4-15,-1 0-8 0,1-1 4 0,0-1 0 0,-1 0 0 0,1-1 4 0,1 0-12 16,-1-2 0-16,1 0 4 0,-1 1-12 0,1-2-12 0,0-1-8 0,0 0-12 16,0-1-28-16,0 0-16 0,-1-2 4 0,0 1 12 0,1 0 8 0,0 0 4 15,1-2 8-15</inkml:trace>
  <inkml:trace contextRef="#ctx0" brushRef="#br0" timeOffset="132567.5823">16453 12722 35 0,'0'-6'44'0,"0"0"-4"15,1 0-8-15,0 0 0 0,0 0 0 0,1 0-4 0,-1 2-8 0,0-1-4 0,0-1 0 16,0 1 0-16,-1 1-4 0,1-1 4 0,-2 2-4 0,1-1-4 16,0 1 0-16,-1 0 0 0,0 2 0 0,0-1-4 0,0 1 0 0,-2 1 0 0,2 0 4 15,0 1-4-15,0 0 0 0,0 1 0 0,0 1-4 0,1 0 4 0,-1 1-4 16,0 0 4-16,1 0-4 0,0 0 4 0,-1 2-4 0,0-1 0 0,0 0 0 0,0-1 0 15,0 1 0-15,0 1 0 0,0-2 0 0,0 2 0 0,0-1 0 0,1-1 0 16,-1 2 0-16,0-1 0 0,0 0 4 0,1-2-4 0,-1 1 4 0,1 0 0 16,-1-1 0-16,1-1 0 0,0 2 0 0,-1-2-4 0,1 0 4 0,0 0 0 15,-1-1 0-15,1 1-4 0,0-1 4 0,0-1-4 0,0 0 0 0,0 2 4 0,0-2-4 16,0 0 4-16,0 0-4 0,0 0 0 0,0 0 0 0,1-2 0 0,-1 2 0 15,1 0 0-15,-1 0 0 0,1 0-4 0,0-1 4 0,0 0-4 0,1 0 0 0,-2 1 0 16,2-1-4-16,0 1-8 0,-1-1-12 0,1 0-20 0,0 0-20 16,-2 0-8-16,2 0 8 0,0 1 4 0,-1-1 12 0</inkml:trace>
  <inkml:trace contextRef="#ctx0" brushRef="#br0" timeOffset="132954.6046">16382 12940 19 0,'1'-1'24'16,"2"1"-4"-16,-2-2 0 0,2 2 4 0,-1-2-4 0,1 1-4 0,0 0-4 16,0 0 0-16,-1-1 0 0,1 0-4 0,-1 1 0 0,1-1 0 0,-1 0 0 15,0 0 0-15,1 0 0 0,-1 0-4 0,1 1 0 0,1 0 0 0,-1 0-4 0,-2-1 0 16,2 2-4-16,-1-1 8 0,0 0 0 0,-1 0 0 0,1 1 0 0,0 1 0 15,-1-1-4-15,0 1 0 0,1 0 0 0,-2-1 0 0,1 3 0 0,0-1 4 0,0 0-4 16,0 0 4-16,0 0-4 0,0 0 0 0,-1 1 0 0,2-1 0 0,-1 1-12 16,1-1-20-16,-1 0-32 0,1 1 0 0,0-1 4 0</inkml:trace>
  <inkml:trace contextRef="#ctx0" brushRef="#br0" timeOffset="133608.642">17567 12537 3 0,'0'-4'32'0,"-2"0"-4"15,1 2 0-15,0-2-4 0,1 3 0 0,-1 0 0 0,1 0-4 0,0 2 4 16,0 0-4-16,0 2 4 0,0 1 0 0,1 0-4 0,0 2 0 0,2-1 0 0,-2 4 4 15,0-1-4-15,0 2 0 0,1 1 0 0,-2 0 0 0,1 0 0 0,1 2-4 16,-1 0 4-16,0 1-4 0,-1 1 4 0,0 0 0 0,1 0-16 0,0 1 16 16,0 1-8-16,0 0-8 0,-1-1 8 0,0 1 0 0,0 0 0 0,0-2-4 15,1 2 0-15,-1-3 4 0,1 2-4 0,-1-2 4 0,0 1-4 0,0-2 0 0,-1-1 0 16,1 0-4-16,0 0 0 0,0-1-4 0,0 0-4 0,0-3 12 0,0 1-4 15,0-1-8-15,1-1 8 0,0-1 0 0,0-1-8 0,0-1 16 0,1 0-8 0,0-1 4 16,0-1-12-16,0-1 4 0,0-1 0 0,2 0 0 0,-1 0 0 0,-1-1-4 16,2-1 4-16,-1 0-8 0,0 0 8 0,1-1-4 0,-1 0-4 0,0-1-12 15,1 1-12-15,0-2-8 0,-1 1-16 0,1 0-20 0,-1 0-20 0,1-1 4 0,0 0 12 16,0-1 12-16,0 1 0 0,0-1 8 0</inkml:trace>
  <inkml:trace contextRef="#ctx0" brushRef="#br0" timeOffset="134034.6663">18389 12475 7 0,'0'4'28'0,"0"2"0"0,0-2-4 0,0 1 0 0,1 1-4 0,-1 1 4 0,0 0-4 15,0 0-4-15,1 1 0 0,-1 0-4 0,1 1 0 0,1 1 0 0,0 0 0 16,0 1 0-16,1-1-4 0,-2 1 4 0,2 2-4 0,-1-2 0 0,1 1 4 0,-2 1-4 15,2-1 0-15,-1 1 0 0,0-1 0 0,0 2 0 0,0-2 0 0,0 1 0 16,-2-1 0-16,2 1 0 0,-1-1 0 0,1 0 0 0,-1 0 0 0,0-2 0 16,0 2-4-16,-1-2 4 0,1 0-8 0,0-1 4 0,-1 0 0 0,0 0 0 15,0-1 0-15,1-2 0 0,-1 2 4 0,1-3-4 0,-1 2 0 0,1-3 0 0,0 1 4 16,-1-1-4-16,1-2 0 0,1 0-4 0,0-1 0 0,-1 1 4 0,1-2-4 15,-1 0 0-15,2-2-4 0,-1 1 4 0,1-1-8 0,-1 0-16 0,2-2-16 0,-3 0-24 16,2-1-20-16,-1 1 4 0,-2-1 8 0,2 0 16 0</inkml:trace>
  <inkml:trace contextRef="#ctx0" brushRef="#br0" timeOffset="135091.7268">15231 13695 31 0,'5'-3'28'16,"-1"-1"0"-16,1 1-4 0,-1 0 0 0,-1 0 0 0,-1 0-4 0,2 1 0 15,-3-1 0-15,0 0 0 0,0 3-4 0,-1-3 0 0,0 1 0 0,0 2 0 0,0 0-4 16,-1 1 0-16,0 0 0 0,0 2-4 0,-2 0 0 0,2 1 0 0,-2-1 0 15,1 2 0-15,-2 0 0 0,0 2-4 0,0-2 4 0,0 2 0 0,-1 1 0 0,-2-1 0 16,2 1-4-16,-1 1 0 0,-1 0 0 0,0 1-4 0,-1 0 4 16,1-1 0-16,-1 2 0 0,0-1-4 0,-1 2 4 0,1 0 0 0,-1-1-4 0,0 1 0 15,1-1 4-15,0-1-4 0,0 2 4 0,0-1-4 0,1-2 4 0,2 2 4 16,-1-1-8-16,1 0 0 0,0-1 0 0,2 0 0 0,0 1 4 0,2-2-4 0,1 0 4 15,1-1 0-15,2 1 0 0,0-1 0 0,3-1 0 0,-1 1 0 0,2-2 0 16,1 0-4-16,2 0 4 0,1-2 0 0,0 1 0 0,3-1 0 0,-2 0 0 16,3-1 0-16,0 0 0 0,0 0 0 0,1-1 0 0,1-1 0 0,0 2 0 0,1-2-4 15,-2 0 4-15,3-2 0 0,-1 2 0 0,0-2 4 0,0 1-8 0,-1-2 8 16,1 2-12-16,-1-2 4 0,0 0 4 0,0-1-4 0,-2 1 4 0,1 0 0 15,-2-1-8-15,-1 1 4 0,1-1 0 0,-2 1 0 0,1 0 0 0,-3-2 4 0,1 3-8 16,0-2 4-16,-2 1 4 0,-1 0-4 0,1 0 0 0,-1-1-4 16,-1 2 0-16,-1-1 0 0,0 1 0 0,0-1 0 0,-1 0 0 0,-1 1-4 0,0 1-4 0,0-2-8 15,-2 1-4-15,1 1-4 0,-2-2-12 0,0 1-12 0,0 1-20 16,-1-2-8-16,0 2 8 0,-1 0 8 0,-1 0 8 0</inkml:trace>
  <inkml:trace contextRef="#ctx0" brushRef="#br0" timeOffset="135359.7421">15525 13758 31 0,'2'-3'32'0,"1"1"-4"0,-1 1 0 0,2 0-4 0,-2 1 4 0,0 1 0 15,1 0-4-15,-1 1 0 0,1 1 0 0,-1 2-4 0,2-2 0 0,-2 4-4 0,0-1 0 16,1 2 0-16,-1 0 0 0,1 0-4 0,-1 2 4 0,-1 1 0 0,0 1 0 15,1-1-4-15,-1 3-4 0,-1-1 0 0,0 1 4 0,0 1-4 0,0 0 0 0,0 1 0 16,0 0-4-16,0 0 4 0,-1 0 0 0,0 0-4 0,-1 0 0 0,1 0 0 16,1 0 0-16,-2 0 0 0,1-2 0 0,-1 0-4 0,1 0 4 0,0 0 0 15,0-3-4-15,0 1 0 0,1-1 0 0,-1 0 4 0,1-3-4 0,0 1 0 16,0-2 4-16,0 1-4 0,0-3-4 0,1-1 4 0,0-1 0 0,1-1 0 0,-1-1-4 15,2-1 0-15,-1-1-4 0,0-1-12 0,1-2-8 0,-1 1-16 0,0-2-8 16,1-2-32-16,-1-1 4 0,1 1 8 0,-1-1 8 0,2 0 4 0</inkml:trace>
  <inkml:trace contextRef="#ctx0" brushRef="#br0" timeOffset="135775.7659">16420 13691 19 0,'0'-4'48'0,"0"-1"-8"0,0 1 0 0,0 1-4 15,0-1-4-15,0 1-4 0,0-1 4 0,-1 0-4 0,0 1-4 0,1-1-4 0,-1 3 0 16,1-3 0-16,-2 2-4 0,2 1-4 0,0-1-4 0,-1 0 0 0,1 1 0 16,0 1 4-16,-1 0-8 0,1 0 0 0,-1 0 0 0,1 0 0 0,0 1 0 0,-1-1 0 15,1 0 0-15,0 2-4 0,0-1 4 0,0 1-4 0,0-2 4 16,0 2 0-16,0 0-4 0,0-1 0 0,0 0 0 0,1 0 0 0,-1 1 0 0,0 0 0 15,1-1 0-15,0 2 0 0,-1-1 4 0,1-1-4 0,-1 0 0 0,1 2 0 16,0-3 0-16,0 2-4 0,1 0 4 0,-2-1-4 0,2 1 0 0,0-1-4 0,-1 0-8 16,2 0-8-16,-1 0-16 0,-1 0-24 0,1-1-12 0,-1 2 4 15,1-2 8-15,0 1 4 0,-1 0 8 0</inkml:trace>
  <inkml:trace contextRef="#ctx0" brushRef="#br0" timeOffset="136073.783">16468 13857 19 0,'-1'1'36'0,"1"0"-4"16,-1-1-8-16,0-1 4 0,0 0-8 0,0 1 0 0,1-2-4 0,-1 0-4 15,1 0 0-15,0-1 0 0,1 1 0 0,-1 0-4 0,1-1 0 0,1 1 0 16,-1-1 0-16,1-1-4 0,0 1 0 0,-1-1 0 0,1 1-4 0,0 0 4 0,0-1-4 15,0 2 4-15,-1-2 0 0,2 0-4 0,-2 1 0 0,1 1 4 0,1-1-4 16,-1-1 0-16,0 1 0 0,-1 1 0 0,1-1 4 0,0 2-4 0,-1 0 4 0,0 0-4 16,0-1 4-16,0 2 0 0,0 2 0 0,-1-1-4 0,1-1 0 0,-1 2 4 15,0 0-4-15,0 0 0 0,0 0 4 0,-1 2-4 0,1-2 4 0,0 1-4 16,-1 0 0-16,0 1 0 0,1-2 4 0,-1 2-4 0,1-1 0 0,-1 0-4 15,1 0 4-15,0 1 4 0,0-1-4 0,-1 0 0 0,1 1 0 0,0-1 0 0,1-1 0 16,-1 1 0-16,0-1 0 0,1-1 0 0,1 0-4 0,-1 2-8 0,0-3-20 16,0 1-32-16,0-1-8 0,1 0 8 0,-1 0 4 0</inkml:trace>
  <inkml:trace contextRef="#ctx0" brushRef="#br0" timeOffset="136719.8199">17592 13495 3 0,'-3'-5'24'0,"0"0"0"0,1 2 0 0,-1 0-4 0,2 0 0 16,0 1 4-16,0 1-4 0,0 1 4 0,1 1-4 0,0 1 0 0,1 1 0 0,0 0 0 15,0 1 0-15,0 1-4 0,-1 2 0 0,2 0 0 0,0 0 4 16,-1 2 0-16,1 0 0 0,0 2 0 0,-1 0-4 0,1 1 4 0,0 0 0 0,-1 1 0 15,2 0-8-15,-2 1 8 0,1 0-4 0,0 1-8 0,-1-1 8 0,0 2 0 16,1-1-4-16,-1 1 0 0,0-1-8 0,0 0 12 0,1 0-8 0,-1 0 0 0,-1-1-4 16,1 2 4-16,0-3-4 0,-1 0 4 0,1-1 0 0,0 1 0 0,0-1-4 15,-1-2 0-15,0 1 4 0,1-1-12 0,0-2 8 0,0 2-8 0,-1-2 8 16,1-1 0-16,-1 0-8 0,0-1 12 0,0-1 0 0,1 0-8 0,-1-1 4 0,1 0-4 15,-1-1 0-15,0-1 4 0,1 2-8 0,1-3 12 0,-1 1-8 0,-1-2-4 16,1 2 12-16,0-2-16 0,1 0 4 0,-1-2 4 0,1 2-4 0,0-2-8 0,-1 0-8 16,2-1-8-16,-1 1-8 0,1-2-8 0,0 1-16 0,0 0-20 0,0-1-12 15,2-1 8-15,-1 0 8 0,0 2 12 0,1-2 4 0</inkml:trace>
  <inkml:trace contextRef="#ctx0" brushRef="#br0" timeOffset="137523.8659">18385 13718 23 0,'-2'-3'28'0,"1"-1"-4"0,-1 1-4 0,0-1 0 0,1 2-4 0,0 0-4 16,0-1 0-16,-1 1 4 0,2 0 0 0,0 1-4 0,0-1 0 0,0 2 0 0,1 0-4 15,0 0 0-15,1 0 4 0,-1 0-4 0,1 0 4 0,0 0 0 0,1 0-4 16,-1 0 0-16,2 1 4 0,-1-1 0 0,2 0 0 0,-1-1 0 0,1 1 0 15,-1 0 0-15,2-2-4 0,-1 1 0 0,1-2 0 0,1 1 0 0,-1 0-4 0,0-1 4 16,2-1 0-16,-1 0-4 0,1 0 0 0,-1-2 0 0,0 0 0 0,2 1 0 16,-3-2 0-16,2 1 0 0,-2-1 0 0,3 0 0 0,-4-1 0 0,2-1 4 15,-1 1-8-15,-1-1 4 0,-1 1-4 0,2-2 8 0,-3 2 0 0,0-1 4 16,-1 0-4-16,-1 0 0 0,0 2 0 0,-1-2 0 0,-1 2 0 0,-1-1-8 0,-1 3 4 15,0-2 4-15,-2 2-4 0,-1 1 0 0,0 0 4 0,-1 1-4 0,-1 0-4 16,-1 2 0-16,0-1 0 0,-1 1 4 0,-1 1 0 0,1 0 0 0,-1 1 0 16,-1 1-8-16,2 0 8 0,-1 0-4 0,-1 1 0 0,2-1 0 0,0 2 0 0,-2 1 0 15,3-1 4-15,-1 1-4 0,1 0-4 0,0 0 4 0,2-1 0 0,-2 2 4 16,2 1 0-16,1-2-8 0,1 0 4 0,0 1 0 0,1 0 4 0,0-1-8 15,2 0 8-15,0 1-4 0,0-1-4 0,2-1 0 0,0 1 4 0,2 0 0 0,0 0 0 16,-1 0-4-16,3 0 4 0,0-1 0 0,-1 0 0 0,2 0-4 0,-1 1 0 16,2-1 4-16,-1-1-4 0,2 1-8 0,-1-1 0 0,1-1-4 0,0 1-8 0,1-1 0 15,0-1 0-15,0 1 0 0,1 0 4 0,0-2 0 0,1 0 0 16,0 0 4-16,1 0 0 0,-1 0 0 0,1-1 0 0,1 0 4 0,-1-1 4 0,0 1 0 15,2-1 0-15,-1-1 4 0,1 2 0 0,0-2 4 0,0 1 0 0,-1 0-8 16,1-1 4-16,0 2 4 0,-1-2-4 0,1 1 4 0,0 0 0 0,-2-1 0 0,2 2 0 16,-1-1 0-16,0 0 4 0,-1 2-4 0,1-1 4 0,-1 0-4 0,1 1 4 15,-2 0-4-15,1 0 4 0,0 0 0 0,-1 0 4 0,0 1 0 0,0 0 0 16,-1 0 0-16,1 1 0 0,-1-1 4 0,0 1-4 0,1 0 0 0,0 1 4 15,-1-2 0-15,1 2 0 0,-1-2-4 0,0 2 4 0,1-1 0 0,0 0 0 0,0 1 0 16,0-2 0-16,1 2-4 0,-2-1 4 0,2 0 0 0,1 1-8 0,-2-2 4 16,2 1 0-16,-1 0 0 0,0-1 0 0,2 0 0 0,-2 0 0 0,0 1-4 0,1-2 4 15,0 0 4-15,1 0-4 0,-2 0 4 0,1-2-4 0,0 1-4 16,0 0 4-16,-2-1-4 0,3-1 8 0,-2 2-12 0,0-3 8 0,-1 1 0 0,1 0 0 15,-1-1-4-15,0 0 8 0,-1 0-8 0,-1 0 0 0,1-2 0 0,-1 1-4 16,-1 0 12-16,-1-1-4 0,2 1 4 0,-2-2-8 0,-2 2 4 0,1-1 0 0,-1 0 0 16,-1 0-4-16,-1-1 4 0,1 0 4 0,-2 1-4 0,-1-1-8 0,0 2 8 15,-2-1 0-15,-1-1-4 0,-1 3 4 0,0-3-4 0,-1 3 0 0,0 0-4 16,-3-1 0-16,0 0 4 0,-1 2-8 0,-1 0 4 0,-2 1 4 0,0 0 0 0,-1 0 0 15,-1 0-4-15,-1 2 0 0,-1 0 0 0,1 2 0 0,-2-2 4 16,2 2-4-16,-3 0 0 0,1 1 4 0,1-1 0 0,-2 2 0 0,2 1-4 0,-1-1 0 16,2 0 0-16,-1 0 0 0,2 2 0 0,-1-1-4 0,2 1 4 0,0-1-4 0,1 0 0 15,2 1-8-15,0 0 8 0,1-1-4 0,2 0-12 0,1 0 0 0,1 1-12 16,0-2-4-16,2 1-8 0,1-1-12 0,1-1-16 0,0 0-28 0,1 1 4 15,1-1 12-15,0-1 12 0,1 0 4 0,1 0 12 0</inkml:trace>
  <inkml:trace contextRef="#ctx0" brushRef="#br0" timeOffset="138928.9463">15746 14558 15 0,'-2'0'32'0,"-1"0"-4"0,1 2 0 0,-1-1-4 0,1 1 0 0,-1 0-4 15,-1 1 0-15,2 0 0 0,-1 1 0 0,0 1-4 0,0 1 4 0,0-2-4 16,1 3 0-16,0 0 0 0,1 0 0 0,-1 1-4 0,0 0 4 0,1 1 0 0,0 0-4 16,0 0 0-16,0 1 0 0,0 0 0 0,1 2 0 0,0-3 0 0,0 1 0 15,1 1-4-15,1 0 0 0,0-1 0 0,-1 1 0 0,2 0 8 0,0-1-4 16,1 0 0-16,1 0 0 0,-1-1 0 0,1 1 0 0,1 0 0 0,0-1 0 15,1 0 0-15,1-2-4 0,0 1 0 0,0 0-4 0,1-2 0 0,1 1-4 0,-1 0 12 16,3-2-8-16,-2 2-8 0,1-3 8 0,1 2 8 0,0-2-8 0,-1 0 0 16,3 0-4-16,-3 1 8 0,2-2-4 0,-1 0 4 0,-1 0-8 0,2 1 0 0,-2-2 0 15,0 1 4-15,0-1-4 0,-1 1 4 0,1-1 0 0,-2 1-4 16,0-1 4-16,-1 1 4 0,1 0 4 0,-2-1-8 0,-1 1 0 0,0 1 4 0,-2-1-4 15,2 1-4-15,-3 0 4 0,-1 0 0 0,-1 1 4 0,0-1-4 0,-2 2-4 16,0-1 4-16,-1 1 4 0,-1-1-4 0,-2 2 0 0,0-2 4 0,0 2 0 0,0-1-4 16,-2 0 0-16,-1 0 0 0,0 0-8 0,0 1 16 0,-1-1-8 0,-1-1 0 15,1 1 0-15,-1 1 0 0,0-2 0 0,-1 0-4 0,1 1 0 0,-2-1 0 16,1-2 4-16,0 1-4 0,0-2 0 0,-1 1 4 0,0 0 4 0,1-2-8 15,0 0 0-15,-1-1-4 0,1 0 8 0,1 0 4 0,-2-1-4 0,2 0-4 0,0-2-4 16,0 2 4-16,1-1 0 0,0-1-4 0,-1 1 4 0,2-1 0 0,0 0 0 16,1 0 4-16,-2-1 0 0,3 2-8 0,-1-2 4 0,1 1-4 0,0 0-4 0,0 1 0 15,0-2 4-15,2 2-4 0,0-2-8 0,0 1 0 0,1 1-8 0,-1-1-12 16,1 0-4-16,1-1-8 0,1 2-4 0,0-2-16 0,-1 0-24 0,2 1-4 15,0-1 12-15,0 1 8 0,0-2 8 0,2 1 8 0</inkml:trace>
  <inkml:trace contextRef="#ctx0" brushRef="#br0" timeOffset="139775.9945">15745 14569 35 0,'0'-4'36'0,"0"-1"0"0,0 0-4 16,-1 1-4-16,1 1-4 0,-1 0 0 0,-1 1-4 0,2 0 0 0,-2 1 0 15,-1 1 0-15,1 1-4 0,0 1 0 0,-2-1 0 0,1 3 0 0,0-1-4 0,-2 3 0 16,1 0 0-16,-1 0 0 0,0 1 0 0,-1 1-4 0,0 1 0 0,-1 0 0 16,0 2 0-16,0-1 0 0,-1 1 0 0,-2 1-4 0,2 1 4 0,-1 1 0 0,-2-1 0 15,2 3 0-15,-1-2 0 0,-1 2 0 0,0 0-4 0,1 0 0 16,-2 1 0-16,2-2 0 0,-1 0 8 0,1 1-8 0,1-3 4 0,0 2-4 0,-1-2-4 15,1 0 4-15,1-1-4 0,2 0 4 0,-2-1-4 0,2-1 0 0,1 1 4 16,1-1 0-16,0-2 0 0,3 1 0 0,0-2 0 0,1 0 4 0,1-1 4 0,2-1-4 16,1-1-4-16,2 0 4 0,1-3-8 0,2 1 12 0,1-2-8 0,1 0 4 15,2-2-8-15,0 2 4 0,3-2 0 0,-1 0 0 0,3 0-4 0,-1-1 4 16,3 1 0-16,1-1 4 0,-1 0-4 0,3 0 0 0,0 0 0 0,1 0-4 15,0 0 0-15,2 0 0 0,-1 0 0 0,1-1 4 0,0 0 0 0,0 1-4 16,-1-1 0-16,0 1 0 0,0 1 4 0,0-1-4 0,-1 0 4 0,-1 2-4 0,0-2 0 16,-1 1 0-16,1 0 0 0,-4 1-8 0,2-1 12 0,-1 2-8 0,-2-1 8 0,-1 0 0 15,0 0-8-15,-1 1 8 0,-1 0-4 0,-1-2-4 0,-1 2 0 0,0 0 0 16,-3-1 12-16,0 0 0 0,0 1-12 0,-2-1 4 0,0 1 0 0,-2-2 0 15,0 2 4-15,1-2 0 0,-3 1-4 0,0 0-4 0,0 0 0 0,-2-1 8 16,1 0-4-16,-1 0 0 0,-2 1 0 0,0-2-8 0,0 0 8 0,0 1-4 0,-2-2 0 16,0 1-4-16,0 0 8 0,-1-1-4 0,-1 1-8 0,0-1-8 0,-1-1-4 15,-1 1 0-15,1 0 0 0,-1-1-8 0,-1 0 0 0,0 0-8 0,-1 1-4 16,-1-2-24-16,0 1-8 0,-1-1-4 0,1 0 12 0,-1 0 8 0,-2 0 4 0</inkml:trace>
  <inkml:trace contextRef="#ctx0" brushRef="#br0" timeOffset="140375.0289">16814 14706 11 0,'1'-2'40'0,"-1"-2"-4"0,1 0-4 0,-1 1 0 0,0 0-4 16,0 0 0-16,0 0 0 0,0 1-4 0,-1 0 0 0,0-1-4 0,1 1 0 0,-1 0-4 15,1-1 0-15,-1 2-4 0,0 0 0 0,-1-1-4 0,2 1 0 0,-1 1 0 16,0 0 0-16,0 1-4 0,0 1 4 0,0-1-4 0,1 0 0 0,0 2 0 0,-1-1-4 16,0 1-4-16,0 1-8 0,0 0-12 0,1 0-28 0,-2 0-28 0,1 0 4 15,-2 2 8-15,3 0 8 0</inkml:trace>
  <inkml:trace contextRef="#ctx0" brushRef="#br0" timeOffset="140564.0398">16850 14965 39 0,'2'3'48'16,"0"0"-4"-16,-1 1-4 0,1-2 0 0,1 0 4 0,-2 1 0 0,-1-2-4 15,1 0 0-15,0 1-4 0,-1-2-8 0,0 1-4 0,-1-1 0 0,0 0 0 0,1 1-4 16,-1 0 0-16,0-1-4 0,-2 0-12 0,2 1 12 0,0 0-8 0,1 0 0 16,-1 1-8-16,0-2 0 0,1 2 0 0,0-1 4 0,0 0 8 0,1-1-4 15,0 2-4-15,0-1-12 0,-1 0 8 0,1 1-4 0,2-2-4 0,-1 1-12 16,-2 0-12-16,2-1-12 0,0 0-16 0,-1 0-28 0,2 0 4 0,-1 0 4 0,0-1 12 15,0 0 4-15,1 1 8 0</inkml:trace>
  <inkml:trace contextRef="#ctx0" brushRef="#br0" timeOffset="147211.4199">15820 15757 19 0,'-2'0'40'0</inkml:trace>
  <inkml:trace contextRef="#ctx0" brushRef="#br0" timeOffset="149302.5396">15839 14734 3 0,'-3'2'24'0,"0"-1"-4"15,0 1 4-15,0 1-4 0,1-1 0 0,-1 1 0 0,1 1-4 0,-1-1 0 0,2 0 0 16,-1 2 0-16,0-1 0 0,2 1-4 0,-3 1 0 0,2 0 0 0,0 0-4 16,1 1 0-16,-1 1 0 0,1-1 0 0,0 0-4 0,0 2 4 0,1 0 0 0,0-1 0 15,0 2 0-15,0 0 0 0,1 1-4 0,0 0 0 0,0 0 4 16,-1 0 0-16,2 1 0 0,-1 1-4 0,1 0 0 0,0 0 4 0,0 1 0 0,1 0-4 15,0 0 0-15,0 1 0 0,0 0 4 0,0 0 0 0,0 0-4 0,0 0 0 16,1 1 0-16,-1 0-4 0,2-1 8 0,-1 1-4 0,0 0 4 0,0 0-4 0,-1 0 0 16,1 1-4-16,-1-2 0 0,2 2 4 0,-2-3 0 0,0 2 0 0,0-1 0 15,0-1-4-15,0 1 0 0,0-2 0 0,0 0 4 0,-2 1-4 0,1-2 0 16,-1 0 0-16,1-2 0 0,-2 2 0 0,2-2 0 0,-2-1 0 0,0 0 0 15,0-1 4-15,1-1 0 0,-1 0-4 0,-1-1 0 0,0 0 0 0,0-2 4 0,0 0-4 16,0 0 0-16,1-1 4 0,-1 0 0 0,0-1 0 0,0 0-4 0,0-1 4 16,0 1-4-16,0-2 0 0,0 1 0 0,0-1-8 0,0 0 12 0,0 0 4 0,0 0-8 15,-1 0 0-15,1 0 0 0,0-1 0 0,0 1 0 0,0 0 4 16,0-1 0-16,0 1 0 0,0-1-4 0,0 1 4 0,0-1 0 0,0 0-4 0,0 0 4 15,0 0-8-15,0-1 0 0,1 0 0 0,-1 1 0 0,1-1 4 0,0 0-4 16,1-1-4-16,-2 0-4 0,2 1-8 0,-1-1-16 0,1 0-16 0,-1-1-28 0,1 0 4 16,-1 1 4-16,0-2 8 0,0 0 8 0</inkml:trace>
  <inkml:trace contextRef="#ctx0" brushRef="#br0" timeOffset="152834.7417">17974 14443 27 0,'1'2'64'0,"-1"0"0"0,1 1-4 0,0-1-16 0,0 3 0 0,0-2 4 0,-1 1-16 16,1 1 4-16,1 0 0 0,-1 0-4 0,0 0-4 0,-1 2-4 0,1-1 8 16,-1 1-8-16,0 1 0 0,1-1-4 0,-1 2 4 0,1 0-8 0,-1 1 0 0,-1 0-4 15,1 1 0-15,-1-1 0 0,0 2 0 0,1 0-4 0,-2 1 4 0,1-1 0 16,-1 2 0-16,1 0 0 0,-2 1-8 0,2-2 4 0,-2 2-4 0,1 0 0 15,-2 1 0-15,2-1-8 0,-1 0 12 0,1 0-4 0,0 0 0 0,-1 0 4 16,1-1-8-16,-1 0-4 0,1-1 4 0,-1 1 0 0,1-2 8 0,0-1-8 0,0 1-4 16,-1-2 8-16,1 0 0 0,1-1-4 0,-1 0 0 0,1-1 4 0,1-1 4 15,-1 0 0-15,0-1-8 0,0-1 0 0,1-1 0 0,-1 0-4 0,1-1 4 16,0-1 8-16,0 1-4 0,0-2-4 0,0 0 0 0,0 0 0 0,0-1 0 15,0-1 4-15,0 0 0 0,0 1 0 0,0-2-8 0,0 0 0 0,0 0 4 0,1 1-8 16,-1-2 0-16,0 1 4 0,0 0-12 0,1-1-8 0,-1 1-4 0,1-1-8 16,0 0-4-16,-1 0-8 0,2 0 0 0,-1-1-24 0,0 1-24 0,0-1 0 0,2 0 8 15,-1 1 8-15,0 0 12 0,0-1 4 0,1 1 8 0</inkml:trace>
  <inkml:trace contextRef="#ctx0" brushRef="#br0" timeOffset="153466.7778">18456 14798 11 0,'1'6'40'0,"2"-2"-4"0,-2 1 0 0,1-2-4 16,0 3 4-16,0-1-4 0,0 1-4 0,0 0 0 0,1 0-4 0,0 0 0 0,1 0-4 15,0 1 0-15,0 0 0 0,2-1-4 0,0 1 0 0,-1-2 0 16,1 3 0-16,0-1-4 0,2-2 4 0,-2 0 0 0,2 0 0 0,-1-1 0 0,2 0-4 16,0-1-4-16,-1-1 0 0,2-1 4 0,-2-1-8 0,2-1 8 0,-1 0-4 15,2-3 0-15,-2 1 4 0,1-2-12 0,2 0 12 0,-1 0-12 0,-2-2 8 16,3 0-8-16,-2-1 4 0,0 0 8 0,1-1-12 0,-2 1 12 0,0-2-8 0,0 1 0 15,-1-1 0-15,-1 0 4 0,0 0-8 0,0-1 0 0,-2 2 4 0,-1-2 8 16,1 0-4-16,-3 1-8 0,0 0 0 0,-2 0 4 0,0 1 4 0,-1 0-4 16,-2 0 0-16,0 0 8 0,-2 2-8 0,-1 0 0 0,-1 0-8 0,-1 1 12 0,-1 0-4 15,-1 0-4-15,-1 2 8 0,0 0-8 0,-3 0-4 0,2 1 4 0,-1 0 0 16,-1 0 0-16,1 1 0 0,-2 0-4 0,1 2 4 0,-2-1 0 0,2 1 0 0,-1 0 0 15,1 1 0-15,0 0 0 0,0 1 0 0,1 0 8 0,0 0-16 0,1 2 8 16,0-1 0-16,2 1-4 0,0 0 4 0,0-1-8 0,3 2 4 0,-1 0 4 16,3 0 4-16,-1 0-4 0,2 1-8 0,1-1-8 0,1 0-8 0,1 1-8 0,1-1-8 15,1 0-12-15,0-1-8 0,1 1-28 0,1-1-8 0,2-1 12 0,0 2 8 16,0-2 12-16,2 0 4 0</inkml:trace>
  <inkml:trace contextRef="#ctx0" brushRef="#br0" timeOffset="153847.7996">19473 14511 35 0,'-3'-2'28'0,"1"0"0"0,-1 1-4 0,0-2 0 0,0 2-4 0,2 0 0 15,-2 1 0-15,2 0-4 0,-1 0 0 0,0 0 4 0,2 2-4 0,-1 1-4 0,0 0 0 16,0 1 4-16,0-1 0 0,1 4 0 0,1-1 0 0,-1 2-4 0,1 0 4 15,0 2 0-15,0 1 0 0,0 0 4 0,0 2-4 0,0 2 4 0,0 1 4 16,0 1-4-16,0 1-8 0,-1 1 4 0,1 1 0 0,-1 1 4 0,0 2-12 0,0 0 8 16,0 1-4-16,-1-1 4 0,1 1 0 0,-1 1 0 0,0-1 0 0,0 1-8 15,0-1 0-15,0-1 0 0,0 0-4 0,0 0 4 0,-1-2 4 0,1 1-4 0,-1 0-4 16,1-3-4-16,0 1 4 0,-1-3 4 0,2 0-4 0,-2-1 0 0,1-1 0 15,0-1 0-15,1-2 0 0,-1-2-4 0,1 0 4 0,0-2 0 0,0 1 0 16,-1-4 4-16,1 1-8 0,1-2 0 0,-1-1 0 0,0-1 0 0,0-2 0 16,0 0-8-16,0 0-8 0,0-1-16 0,-1-1-12 0,0-2-8 0,0 1-28 0,0-1-24 15,0-1 4-15,-2-1 8 0,2 0 16 0,-2 0 4 0,0-2 8 0</inkml:trace>
  <inkml:trace contextRef="#ctx0" brushRef="#br0" timeOffset="157066.9835">14664 7171 31 0,'2'-1'36'0,"-1"-1"-4"0,0 1-4 0,0 0-4 0,-1 0-4 16,1 0 0-16,1 0-4 0,-1-2 4 0,0 2-4 0,1-2 0 0,-1 1 0 16,1 0 0-16,-1-1-4 0,2 0 4 0,-2 0-4 0,2-1 0 0,-1 1 0 0,2 1 0 15,0-1 0-15,3 0-4 0,-1 1 4 0,1 0 0 0,1 2-4 0,2-2 4 16,-1 1 0-16,2 1-4 0,2-1 4 0,0 1 0 0,2 0-4 0,-1-2 0 15,5 2 0-15,-2 0 0 0,3 0 0 0,-1 0 4 0,4 0 0 0,-1 0-4 16,2 0 8-16,-1 0-4 0,1 2-4 0,2-2-4 0,0 0 4 0,1 0 0 0,-1-2 4 16,0 2 0-16,1 0-8 0,0-1 4 0,0 1-4 0,0-1 4 0,-2-1-8 15,1 2 8-15,-2-2 0 0,1 1 0 0,-1-1 0 0,-2 0 0 0,0-1-4 0,-2 2 4 16,0-1-4-16,-3 0 4 0,0 0 4 0,-2 0-12 0,0 0 8 0,-4 0 0 15,2 1 4-15,-4 0 0 0,0-2-8 0,-1 3 4 0,-2-1 8 0,0 0-8 16,-1 0 4-16,-2 1-4 0,0 0 0 0,-2-1-4 0,0 1 0 0,-1 0-4 0,-1 0 4 16,0 0 0-16,-2 0 4 0,0 1-8 0,0-1 0 0,0 0 0 0,-2 1-8 15,0 0 0-15,0-1-4 0,-1 0-4 0,0 1-16 0,0 1-16 0,1-1-8 16,-3-1-28-16,1 1-20 0,0 0 4 0,0-1 4 0,-2 1 20 0,1 1 4 0,1-1 4 15,-1-1 12-15</inkml:trace>
  <inkml:trace contextRef="#ctx0" brushRef="#br0" timeOffset="159518.1239">15038 8414 7 0,'6'-3'8'0,"-2"-1"0"0,1 1-4 15,1 0 4-15,-1-1 4 0,1 2 4 0,1-1-8 0,-1 0 4 0,1-1 0 0,2 2 0 16,1 0-4-16,-1 0 4 0,0 0 0 0,2 0 0 0,0 1-4 0,0-1 4 15,2 0 0-15,-1-1-4 0,1 1 4 0,1 0-4 0,0 0 4 0,0 0 0 16,0 0-4-16,0-1 0 0,1 2 0 0,2-1 0 0,-2 0 4 0,3 0-8 0,0-2 8 16,-1 3-4-16,1-3 0 0,1 2 4 0,1-2 0 0,1 1-4 0,-1-1 8 15,2 0-4-15,1 0 4 0,1 0-4 0,0-2 0 0,3 0 0 0,2-1 4 0,2 1 0 16,0-1-4-16,3 0 4 0,0-2-4 0,3 1 0 0,0 0 4 0,1-1 0 15,0 1-8-15,3-2 0 0,0 1 4 0,0 0 4 0,3 0-4 0,-1 0 0 16,2-1 0-16,0 2-4 0,3-2 0 0,-2 1 0 0,4 0 0 0,-1 1-8 16,2 0 4-16,1-1 4 0,-1 2-4 0,2 0 0 0,0 1-4 0,-2-1 0 0,1 2 8 15,-1-1-8-15,-1 3 8 0,0-1-8 0,-1 1 12 0,-2 0-8 0,2 0 8 16,-2 2-4-16,0-1 0 0,0 1 4 0,2 0-4 0,0 1 0 0,0-2-8 0,1 2 8 15,1 0 0-15,0 0 0 0,0 0 4 0,0 2-4 0,0-2 4 16,1 0-4-16,-1 1-4 0,0 0 4 0,1-1 0 0,0 0 0 0,1 1 4 0,0-1-8 16,1 1 4-16,3-1 0 0,-1 1 0 0,3-1-4 0,-1-1 0 0,2 1 4 15,-1 0-4-15,1-1 0 0,1 0 4 0,0 1-4 0,0-1 4 0,0 0 0 0,0 1-4 16,0-2 0-16,0 1 4 0,0-1-4 0,0 2-4 0,1-2 8 0,-1 0-4 15,-1 0-4-15,0 0 0 0,-1 1 4 0,1-2 0 0,-2 2-8 0,1-1 4 16,-2 0 4-16,-2 1 0 0,-1 0 0 0,-3 0-4 0,0-1 0 0,-4 0 0 16,1 1 0-16,-3 1 0 0,-2-2 0 0,-1 2 0 0,-1 0 0 0,-2-2 0 0,-2 2 4 15,-1 0 0-15,-2 0-4 0,-3 0 0 0,-1 0 0 0,-3 0 4 0,-2 2-4 16,-3-2 0-16,-2 0 0 0,-1 0 0 0,-3 0 0 0,-1 1 0 0,-2 0 0 0,-1-1-8 15,-3 1 4-15,-1 0 0 0,-2 0-12 0,0-1-20 0,-2 2-8 16,-3-1-16-16,-1 0-20 0,-1-1-32 0,-2 1-8 0,-1 0 12 0,-3 0 12 0,0-1 12 16,-1 3 4-16,-1-3 12 0,-3 1 8 0</inkml:trace>
  <inkml:trace contextRef="#ctx0" brushRef="#br0" timeOffset="161236.2222">1737 13126 35 0,'-14'0'28'16,"2"1"4"-16,-1-1-4 0,1 0-4 0,0 0 0 0,1 0-4 0,1-1 0 15,-1 1-4-15,2-1 0 0,0 1-4 0,0-2 0 0,0 2-4 0,3-2 4 0,0 0-4 16,2-1 0-16,1 1 0 0,2-1 0 0,1 0-4 0,2-1 4 15,2 0 0-15,2-1 0 0,1 0-4 0,4-1 0 0,0 1 4 0,3-2 0 0,2 0 0 16,3-1-4-16,0-1 4 0,5 0 0 0,2 0 0 0,3-2 0 0,4 0 0 16,1-1-4-16,3-1 4 0,4-1 0 0,2 1-4 0,1-2 4 0,3 1-8 0,1-2 4 15,4 0 0-15,0-1 0 0,2 0 0 0,3 1 0 0,0-1 0 0,3 1 0 16,0-2 0-16,2 2-4 0,0 0 0 0,0-2 4 0,1 2-4 0,-1 0 4 15,0 0 0-15,1 0 0 0,-2 0 4 0,-1 2-4 0,-1-1 8 0,-1 1 0 16,-1 1-4-16,-3-1-4 0,-4 2 4 0,0 1 0 0,-3-1 0 0,-1 0-4 0,-4 2 8 16,0 1 0-16,-3 0-4 0,-2 0 4 0,-2 1 0 0,-3 0-12 0,-1 0 4 15,-2 2-4-15,-4-1 8 0,-1 0 0 0,-4 2 0 0,0 0 0 0,-3 0-8 0,-2 1 4 16,0 0 8-16,-4 1-4 0,-1 0-8 0,0 1 0 0,-2-1 0 15,-2 3 0-15,-1-3 0 0,-1 3 8 0,-1 0-8 0,-3 0-8 0,0 0 8 0,-1 3-16 16,-2-3-16-16,0 3-8 0,-2-1-20 0,-1 1-28 0,1 0-12 0,-4 1 8 16,1 0 12-16,-1-1 8 0,0 2 8 0</inkml:trace>
  <inkml:trace contextRef="#ctx0" brushRef="#br0" timeOffset="174535.9829">4310 11096 7 0,'-5'1'24'15,"1"-1"0"-15,-1 0 0 0,0 0 0 0,0-1-4 0,2 1-4 0,-1-2-4 0,0 2 0 16,1-2 4-16,1 2-4 0,1-1-4 0,0 0 0 0,0 0 0 0,2 0 0 0,0 1 0 15,1-1 0-15,0 1-4 0,1-1 4 0,0 0-4 0,1 0 0 16,1 0 4-16,1-1-4 0,-2 1 0 0,1-1 0 0,2 0 0 0,-1 1 0 0,2-1 0 16,-1-1 0-16,0 1-4 0,1-1 0 0,1 0 4 0,0 1 0 0,0-3 0 15,1 3 0-15,1-3 0 0,-1 3-4 0,0-3 4 0,3 0 0 0,-2 0-4 0,1 0 0 16,0 0 0-16,-1 0 0 0,2 0 0 0,-1-1 0 0,0 0 0 0,0 1-12 15,-1 0 16-15,2-1-4 0,-3 1 4 0,2 0 0 0,-1 0 0 0,0 1-4 16,0-2 0-16,0 2 4 0,-2-1-4 0,0 2 4 0,2 0-4 0,-2 0 0 16,-1 0 4-16,2 1 0 0,-2 0 0 0,-1 0-4 0,1 1 4 0,0 1 0 0,-2 0-4 15,1 0 0-15,0 1 4 0,-1 0-4 0,0 2 4 0,-1-2-4 0,1 2 4 16,-1 0-4-16,0 1 0 0,0-2 4 0,-1 2 0 0,0-1 0 0,0 2 0 0,0-1-4 15,0 0 4-15,0 0 0 0,1 0-4 0,-1 0 0 0,1 1 0 0,-1-1 4 16,0-1 0-16,1 1 0 0,0-1 0 0,2 0 0 0,-2 0 0 0,1-1 0 16,0 1 0-16,1-2 4 0,0 2-4 0,1-3 0 0,0 0 0 0,0 0 4 0,2 0-4 15,-1-2 0-15,0 1 0 0,3-3 4 0,-2 1-8 0,0 0 4 0,3-1-4 16,-2-1 4-16,2 0 0 0,-1-1 0 0,0 1 0 0,2-2-4 0,-1 0 4 15,1 0-4-15,-1 0 0 0,1 0 0 0,-2-1 0 0,1 1 4 0,1 0-4 16,-2-1 0-16,1 2 0 0,-1-1 4 0,-1 0-4 0,1 1 0 0,-2 0 8 0,1 1-8 16,-1-1 0-16,0 2 0 0,-2 0 4 0,2 0-4 0,-2 1 0 0,0 0 4 15,-2 2 0-15,3-1-4 0,-3 2 4 0,0 0-4 0,0 0 0 0,-1 0 4 0,0 2-4 16,0-1 4-16,-1 2-4 0,0-1 4 0,0 1-4 0,0-1 8 0,0 2-8 15,0-1 4-15,0-1-4 0,0 1 4 0,0 0 0 0,0 0-4 0,0-1 0 16,0 1 4-16,-1 0-4 0,2-1 4 0,0 1-4 0,-1-1 8 0,1-1-4 16,-1 1-4-16,1-1 0 0,1 1 0 0,0-2 0 0,0 0 4 0,0 0 0 15,-1 0-4-15,3 0 4 0,-1-1-8 0,1-1-4 0,-1 0 4 0,0 0-12 0,2-1-20 16,-1 0-32-16,0-2-28 0,1 2 12 0,-1-1 8 0,0-1 8 0,-1 1 4 0,2 0 8 15</inkml:trace>
  <inkml:trace contextRef="#ctx0" brushRef="#br0" timeOffset="184190.5351">5922 9515 31 0,'-1'0'28'15,"-1"1"0"-15,1-1-4 0,-1 0-4 0,1 1 0 0,-1-1-4 0,2-1 0 16,-2 1-4-16,1 0 0 0,0 0 0 0,0-1 0 0,1 1-4 0,0 0 0 16,1 0 0-16,-1 0 0 0,1 0-4 0,0 0 4 0,0 0-4 0,0 0 0 0,0 0 0 15,1 0 0-15,0 0 0 0,-1 0-4 0,1 0 4 0,0 0 0 0,2 0 0 16,-1-1 0-16,0 1-4 0,1-1 4 0,1 1 0 0,1-1-4 0,0 0 0 0,2 0 4 15,-1-1-12-15,2 1 12 0,2 0 0 0,0-1 0 0,0 0 0 0,4 0 0 16,-2-1-4-16,2 1 4 0,-1 0 0 0,3-1 0 0,0-1 0 0,0 1-4 16,1-1 0-16,2-1 4 0,1 1-4 0,-1-1 4 0,1 1 0 0,1-2-4 15,-1 0 4-15,2 0 0 0,-1 0-4 0,1-1 4 0,0 1-4 0,-1-1 4 0,1 0-4 16,-1-1 4-16,-1 0 0 0,0 1 0 0,0-1 0 0,-2 0 0 0,1 1 0 15,-3 0 0-15,1-1 0 0,-1 2-4 0,-2-2 4 0,0 1 0 0,-2 1 0 0,-1-1-4 16,1 2 4-16,-2-1-4 0,-2 1 4 0,1-1-4 0,-2 2 4 16,0-1 0-16,0 1 4 0,-3 0 0 0,0 0-4 0,0 2 4 0,-1-1-4 0,-1 1 4 15,0 1-4-15,-1 0 0 0,1-1-4 0,-1 1 4 0,-2 1 0 0,0-2-4 16,0 2 0-16,0 0 0 0,0 2-4 0,-1-2-4 0,0 2 0 0,-2-1-8 0,3 1-8 15,-2 0-12-15,0-1-32 0,1 3-12 0,-1-2 8 0,0 2 4 0,0-2 4 16</inkml:trace>
  <inkml:trace contextRef="#ctx0" brushRef="#br0" timeOffset="185050.5841">8240 11007 11 0,'29'-5'16'0,"-1"-1"0"0,-1 1-4 0,1-2 0 0,0-1 4 16,-2 2 0-16,0-2-4 0,-1 1 0 0,-2-1-4 0,1 1 0 0,-2-1 0 16,0 0 0-16,-2 0 4 0,-1 0-4 0,0 1-4 0,-2 0 4 0,0 0 0 15,-2 0 0-15,1 1-8 0,-3 0 4 0,0 0 4 0,-1 1-4 0,-3 1-4 0,2 0 4 16,-3 1 0-16,0 1-4 0,-3 0 0 0,0 0 0 0,0 2-4 0,-2 0 0 15,-1 0-4-15,-1 2 4 0,0-2-16 0,-2 2-36 0,1 0-4 0,-1-1 8 0</inkml:trace>
  <inkml:trace contextRef="#ctx0" brushRef="#br0" timeOffset="186880.6889">9861 10796 23 0,'31'-12'28'16,"1"0"-8"-16,2 0 4 0,4 1-4 0,0-2 0 0,1 2-4 0,2-2 0 16,0 1-4-16,1 0 4 0,1 0-4 0,-2 1 0 0,0 0 0 0,0 0-4 0,-1 1 0 15,-2 0-4-15,0 0 4 0,-1 1 0 0,-1 1-4 0,-2 1 4 0,-2-2 0 16,0 3-4-16,-2 1 4 0,-2-1-8 0,-1 1 4 0,-3 1-4 0,0 0 4 0,-1 2 0 15,-3 0 0-15,-3-1 0 0,0 2 0 0,-3 0-4 0,-2 1 0 0,-2-1 0 16,-2 0 4-16,-1 0-4 0,0 1 0 0,-3 0 0 0,-1 0 0 0,0 0 0 16,-1 0 0-16,-1 0-4 0,0 0 4 0,-2 0-20 0,0-1-12 0,-1 1-36 15,0-1 0-15,-1 0 8 0,-1 1 8 0</inkml:trace>
  <inkml:trace contextRef="#ctx0" brushRef="#br0" timeOffset="191392.9471">10012 15384 11 0,'13'3'52'0,"-1"0"-12"0,-2 1-4 0,1-1 0 15,-2 0-4-15,0-1-8 0,0 0 0 0,-2 0-4 0,0-1-4 0,-1 0 0 16,-1 0-4-16,1-1-4 0,-3 2-4 0,1-2-8 0,-1 0-20 0,-2 0-16 0,1 0-28 16,-1 0 0-16,0-2 4 0,-1 2 12 0</inkml:trace>
  <inkml:trace contextRef="#ctx0" brushRef="#br0" timeOffset="235841.4893">16320 7292 3 0,'-4'-2'36'0,"1"0"0"0,0 0-4 0,0 0 0 15,0 1-4-15,-1-1-8 0,2 0 4 0,-1 1 0 0,1 0 0 0,0-1 0 0,0 1-8 16,0-1 4-16,1 1-4 0,-1 1 0 0,2-1-4 0,-1-1 0 15,1 2-4-15,-1 0 4 0,1 0-4 0,0 0 0 0,0 0 0 0,1 0 0 0,0 0 0 16,0 0-4-16,1 0 0 0,0 0 4 0,1 0 0 0,0 0-8 0,1 0 8 16,1 0-4-16,0 0 0 0,1 0 0 0,0 0 4 0,0 0 0 0,3 0-4 0,0 2-4 15,0-1 4-15,1-1 0 0,2 1 0 0,-1 1 0 0,3-2 4 0,0 0-4 16,1 0 4-16,0 0 0 0,3 1 0 0,-1-1-4 0,3 0 4 0,0 0-4 15,0-1 0-15,3 1 0 0,0 0 0 0,0 0 4 0,3-2-8 0,-1 1 8 16,2-2-4-16,1 3 4 0,0-2-4 0,0 0-4 0,1 0 0 0,0-1 0 0,1 1 12 16,0-2-12-16,-1 1 8 0,2-1 4 0,-1-1-4 0,1 2 0 0,2-2 0 15,-2 0-8-15,0 1 8 0,1-2 0 0,0 1-4 0,-1-1 4 0,0 1-8 0,1 0 12 16,-2 0-8-16,0-1-4 0,-1 3 0 0,-1-2 4 0,0 1-8 0,0 0 8 15,-2 0-4-15,0 1-4 0,0-1 8 0,-1 2 0 0,-2-1 0 0,1 1-4 16,-1 1 4-16,-1-2-8 0,-2 1 8 0,2 2 0 0,-2-1 0 0,-1 0-4 0,0 1 0 16,-2 0 4-16,0 1-8 0,0 0 0 0,-2-1 8 0,-1 2-8 0,2-1 8 15,-2 1-4-15,0 0 0 0,0 1 0 0,1-3 4 0,-1 2-8 0,1-1 4 0,0 1 4 16,0-2-8-16,1 2 4 0,1-2 0 0,-1 1 4 0,2-1-4 15,-1 0 4-15,1 0-4 0,1-1 0 0,0 1 8 0,1 0 0 0,0-2-16 0,0 1 8 16,1 0-4-16,1-1 0 0,-1 1 4 0,2-2 8 0,0 1-12 0,0 0 4 16,0-1-4-16,2 1 8 0,0-1-12 0,1 1 8 0,0-1 8 0,2 0-8 0,-2-1-4 15,2 2 12-15,0-1-8 0,0 0 0 0,0-1-8 0,0 1 12 0,0 0 0 16,1 1-12-16,-1-1 8 0,0 1 0 0,1-1 0 0,-2 1 8 0,2-1-8 15,-1 1 4-15,0 0-4 0,1 0 0 0,-1 1 0 0,0-2 0 0,0 2-4 16,0 1 0-16,-1-2 4 0,1 2 0 0,-2-1 0 0,1 0 4 0,0 0 0 0,-1 0 0 16,1 1-8-16,-2 0 0 0,0 0 4 0,0 1 0 0,0 0 0 0,0-1-8 15,0 1 8-15,-2 0 4 0,2-1-4 0,-1 1-8 0,1 0 8 0,-1-1-4 0,-1 1 4 16,1-1 0-16,1 2 0 0,-1-2-4 0,1 1 12 0,-2-1-8 0,2 0 0 15,-1 1 0-15,-1-1 8 0,1 1-8 0,0-2 0 0,0 1 4 0,0 0 0 16,0 0-12-16,-2-1 8 0,2 1-8 0,-2 0 12 0,0-1-8 0,1-1 12 0,-2 1-4 16,1 1-12-16,-3-2 8 0,0 2 8 0,-1-2-8 0,1 1 0 0,-2 0 0 15,-1 0 4-15,-1 0-4 0,-1-1 4 0,0 2 0 0,-1-1-12 0,-1-1 8 0,0 2 4 16,-2-1 0-16,0 0 0 0,0-1 0 0,-1 1-12 0,-1-1 8 15,1 2 0-15,-3-1-8 0,1 0 8 0,-1 1 4 0,-1-1-4 0,0 1 4 0,1-1-8 16,-2 0 4-16,0 1 0 0,-1 0-4 0,0 0 0 0,0-1 4 0,0 1 8 16,-1 0-4-16,0-1-12 0,1 1 8 0,-1 0 4 0,0-1-8 0,0 1 0 0,0 0 8 15,-1 0-4-15,0 0 4 0,1 0-12 0,-1 0 16 0,-1 0-8 0,2 0 8 16,-2 0-16-16,1 0 8 0,0 0-4 0,-1 0-4 0,0 0 8 0,0 0-4 15,1 0 0-15,-1 0 4 0,0 0 8 0,0 0-12 0,1 0 0 0,-1 0 4 16,0-1 4-16,0 1 0 0,0 0 0 0,1-2-8 0,-1 2 4 0,1-1-4 0,0 1-4 16,-1 0-8-16,0-1-16 0,0 0-12 0,1 1-16 0,-1 0-32 0,0-2-12 15,0 1 8-15,0 0 12 0,-1 1 8 0,1-1 12 0,0 0 4 0</inkml:trace>
  <inkml:trace contextRef="#ctx0" brushRef="#br0" timeOffset="236850.5471">16931 8014 3 0,'13'-1'12'0,"2"0"0"0,0 0 0 16,1 1-4-16,0 0 8 0,2 0 0 0,1 0 0 0,-1 0-4 0,4 0 0 0,0 1 0 15,0 0-4-15,3 0 4 0,1-1 0 0,1 0 0 0,1 1-4 0,2-1 0 16,0 0 0-16,1 0 0 0,2 0 0 0,1 0 0 0,2 0 0 0,0 0-4 15,1 0 4-15,1-1-4 0,1 2 0 0,-1-1 0 0,1 0 0 0,1 0 0 0,0 0 0 16,-1 0-4-16,3 0 8 0,-3 0-4 0,2 0 0 0,-2 1 0 0,2-1-4 16,-1 1 0-16,-1-1 4 0,2 0-4 0,-2 2 4 0,0-2-4 0,0 1 4 0,0 0 0 15,0 0 0-15,0 1 0 0,0-2-4 0,-1 0 0 0,-1 1 4 0,0 0-4 16,0-1 4-16,0 0 0 0,-2 0 0 0,1-1 0 0,-2 0 0 0,1 1-4 15,-1-2 4-15,-1 0-4 0,0 1 4 0,-1-2-4 0,2 1 4 0,-2-1-4 16,-1 1 4-16,0-1-4 0,-1 0 4 0,0 0-4 0,-2 0 4 0,0 0-4 0,0-1 0 16,-1 0 0-16,-1 2 0 0,0-1 0 0,-2 1 0 0,-2-2 0 0,0 3 0 15,0-2 0-15,-3 1 0 0,0 0 0 0,0 0 4 0,-4 1 0 0,2 0-4 0,-3 0 0 16,0 0 0-16,-1 1 0 0,-1 0 0 0,1 0 0 0,-3 0 0 0,1 1 0 15,0-1 0-15,-2 1 0 0,1-1 0 0,0 1 0 0,-1 0 0 0,0 1 4 16,1-2-4-16,-1 1 0 0,-1 0 4 0,2 0 0 0,-2 0 0 0,0 0-4 0,0-1 0 16,2 2 0-16,-2-1 4 0,0-1 0 0,-1 2-8 0,2-2 4 0,0 0 0 15,-1 2 4-15,-1-1-4 0,2 0 0 0,0 0 0 0,-2-1 0 0,2 1 4 0,-1 0-4 16,0 0-4-16,-1-1 4 0,1 1 0 0,0-1 0 0,0 2 4 15,-1-1-4-15,1-1 0 0,-1 1 0 0,0-1 0 0,-1 2 0 0,0-2 0 0,1 2 0 16,-1-1 0-16,-1-1 0 0,1 1-4 0,-1 0 4 0,1-1 0 0,-2 2 0 16,1-2 0-16,-1 1 0 0,-1 0 0 0,1 0 0 0,0-1 0 0,-1 0 0 0,1 1 4 15,-1-1-4-15,-1 0 0 0,0 1 0 0,0-1 4 0,0 0-4 0,0 0 0 16,-1 0 0-16,0 0 4 0,0 0-4 0,0 0 0 0,-1 0 0 0,0 0 0 15,1 0-4-15,-1 0 8 0,0 0-4 0,1 0 0 0,-1 0-4 0,0 0 4 16,0 0 0-16,0 0 0 0,0 0 0 0,0 0 0 0,0 0 0 0,0 0 0 0,0 0 0 16,-1 0-4-16,1 0 0 0,0 0-4 0,0 0 0 0,-1 0-16 0,1 0-20 15,-1 0-16-15,0-1-12 0,0 0 4 0,0 1 8 0</inkml:trace>
  <inkml:trace contextRef="#ctx0" brushRef="#br0" timeOffset="238725.6543">1514 14255 23 0,'0'-2'36'0,"0"2"-4"0,0-1-4 0,0 0-4 16,0-2-4-16,0 2 0 0,0 0 0 0,1-1 0 0,0 1-4 0,-1-1 0 16,1 0-4-16,1 0 4 0,1 1-8 0,-2-2 4 0,2 0-4 0,-2 0 4 15,2 1-4-15,0-1 4 0,1 1-4 0,0 0 0 0,1-1 0 0,2 0 0 0,-1 0-4 16,0 1 8-16,1-1-4 0,0 1-4 0,1 0 4 0,0-1 0 0,0 1 0 15,-1 0 0-15,3 0-4 0,-2 0 0 0,0 1 0 0,2 0 0 0,-2 0 0 0,0-1-12 16,1 2 12-16,0 0 0 0,-2 0 0 0,0 2 0 0,1-1 0 16,-1 1 0-16,0 1 0 0,-1 0-4 0,-1 2 4 0,0 0-4 0,0 0 4 0,-2 3 0 15,-1-1 0-15,1 0 0 0,-2 2-4 0,-1 1 4 0,0 0-4 0,0-1 0 16,-1 3 4-16,-2-1 0 0,1-1 0 0,-1 3 0 0,-2-1 0 0,0 0 0 0,0 0-4 15,0 1 4-15,-1 0 0 0,-2-1 0 0,2 0 0 0,-1 1 0 0,0-2 4 16,0 2-8-16,-2-2 4 0,1 0 4 0,1-1-4 0,-2 1 4 0,2-2-8 16,0-2 4-16,0 2-4 0,0-2 4 0,0-1 0 0,1 0-4 0,1-1 4 15,0 0 0-15,0-2-4 0,1 1-4 0,0-1 8 0,1-1-4 0,1 1 4 0,1-2-4 16,1 0 0-16,0 1-4 0,2-2 0 0,0 1 8 0,4-1-4 0,-2 0 4 15,1 0-4-15,2-1 0 0,0 1 4 0,2-2-4 0,0 2 0 0,0-2 4 0,0 2-4 16,3-3 8-16,-1 3-4 0,1 0-4 0,-1-1 4 0,0-1-4 16,3 2-4-16,-3 0 8 0,2-1 4 0,0 1-4 0,-1 0-4 0,0 0 4 0,0 1 4 15,1-1-4-15,-2 2-8 0,0-1 0 0,0 1 16 0,-2 0 0 0,0 1 0 16,-1 1-4-16,0 0 0 0,-2-1 0 0,0 3 0 0,-1-1 0 0,-1 1-8 0,0 1 4 15,-2 0 0-15,-1 0 8 0,-1 1-8 0,0 0-4 0,-2 1 4 0,1 1 4 16,-4-1-4-16,2 1 0 0,-1 0 0 0,0-1 0 0,-2 2 0 0,0-1 0 16,0 0 0-16,-1 1 0 0,0-1 0 0,-1 0-4 0,-1 1 4 0,0-2-4 0,1 1 0 15,-1 0 0-15,-2-1-4 0,2-1-4 0,-1 0 8 0,0-1-4 0,1 0 4 16,0 0-4-16,-1-2-12 0,1-1-8 0,2 0-16 0,-1-1-12 0,0-1-20 0,2 0-32 15,0-2 4-15,1 0 12 0,1 0 8 0,1-1 8 0,-1-1 4 0</inkml:trace>
  <inkml:trace contextRef="#ctx0" brushRef="#br0" timeOffset="239058.6734">2487 14364 51 0,'-2'-5'52'15,"-1"-1"-4"-15,1 1-8 0,-1 1-4 0,-2 0-4 0,2 0 0 0,0 0-4 16,-1 1 0-16,0 0-8 0,0 1 0 0,-1 0 0 0,-1 1-4 0,1 0 4 0,-1 2-8 15,-1 1 4-15,1 0 0 0,-3 0-8 0,2 2 4 0,-1 1-4 16,-1-1 0-16,-1 3 0 0,1-1-4 0,0 2 0 0,-2 0 4 0,1 2-4 0,0-1 0 16,-1 1 0-16,1 1 0 0,-1 0 0 0,-1 1-4 0,1-1 0 0,0 1 4 15,-3 2-4-15,3-1 4 0,-2-1 0 0,0 1-4 0,0 0 8 0,1 0-8 0,-1 0 0 16,1 0 4-16,0-1-4 0,-2 0 0 0,3-1-4 0,-1 0 4 0,0 0-8 15,1-1 0-15,0 0 0 0,-1-1-4 0,2 0-4 0,0-1-8 0,-1-1-16 16,1 0-12-16,1-1-24 0,-2-1-8 0,3 0 8 0,-1-2 8 0,0 0 12 16,2 1 0-16</inkml:trace>
  <inkml:trace contextRef="#ctx0" brushRef="#br0" timeOffset="239241.6839">2037 14497 23 0,'13'0'36'0,"-3"0"0"0,2 1-4 0,0-1 0 0,0 3-4 0,1-1 4 0,0-1-4 16,0 2 0-16,1 1-4 0,0-1 0 0,1-1-4 0,-1 2 0 0,1-1-4 15,0 1 0-15,0 0 0 0,-1-1-4 0,1 1 0 0,-1-1 0 0,1 1-4 16,-1-1 0-16,0-1 0 0,-1 1-4 0,1-1 0 0,-1 1 0 0,-1-1-4 0,1-1 0 16,-2 1 0-16,0-1 4 0,1 0-4 0,-1-1-8 0,-1 0-8 0,0 0-16 15,-1 0-20-15,-1-1-32 0,0 0 4 0,0-1 8 0,-1 0 8 0,-1 0 8 16</inkml:trace>
  <inkml:trace contextRef="#ctx0" brushRef="#br0" timeOffset="239782.7148">2632 14130 15 0,'6'-4'56'0,"-1"-1"-4"0,0 2-8 0,1-1 0 0,-1 1-8 0,0 1-4 16,0 1-4-16,-1 0 0 0,1 1 0 0,-1 1-4 0,1 0 0 0,-2 2 0 15,2-1 0-15,-2 2-4 0,0-1-8 0,1 2 12 0,-1-1-4 0,-1 2 0 0,0 1 0 16,1-2-4-16,-1 2-8 0,0 1 0 0,2-1 4 0,-1 1-4 0,0 1 0 15,2 1 0-15,0-2-16 0,-1 2 24 0,1 0-8 0,2 1-8 0,-1-1 8 16,0 1-8-16,2 0 8 0,-2-1-8 0,3 1 4 0,-1 0-4 0,0-1 0 0,2 0 8 16,-1 0-8-16,0 0 12 0,1-2-12 0,1 2 0 0,-1 0 12 0,2-2-4 15,-1 0 0-15,-1 0-4 0,2 0 0 0,-1 0-4 0,0-1 8 0,2 1 0 0,-3-1-4 16,1-1-4-16,1 1-4 0,-3-2 8 0,1 2 0 0,1-1-4 0,-3-1 4 15,0 0 0-15,2 1 0 0,-3 0 0 0,0 0 0 0,-2-1 0 0,1 2 4 16,0-1 0-16,-3 0-8 0,0 0 8 0,1 0-4 0,-3 1 0 0,0-1 0 16,-1 1 8-16,0-1-8 0,-1 1 4 0,-1 0-4 0,-1-2-4 0,-1 2 4 0,1-1 4 15,-3 1-4-15,0-2 0 0,1 2 0 0,-3-2-4 0,1 2 8 0,-1-2-4 16,-1 0 4-16,0 0-12 0,-2-1 12 0,1 1-4 0,-1-2-8 0,-1 0 4 0,0 0 8 15,1-2-4-15,-2 2-8 0,-1-3 8 0,1 0-8 0,-1 0 8 16,0 0 0-16,0-3 0 0,-1 2-8 0,1-2 8 0,-1 0-4 0,0-1 4 0,1-1-12 16,-2 0 4-16,1-1 0 0,0 1 8 0,1-1-12 0,-1 0 4 0,2-3 8 15,-1 2 0-15,1-1-8 0,0-2 4 0,2 1 0 0,1-1-4 0,0 0 0 0,1 0 0 16,1-2 0-16,2 0 4 0,0 0 0 0,2 0 0 0,1-1-8 0,1 0 8 15,1-1-4-15,2-1 4 0,1 2 0 0,0-4 0 0,1 3 0 0,3-1-8 16,0 1 8-16,0-1 4 0,2 0-4 0,2-1 0 0,-2 2 0 0,2-1 0 16,1 0 4-16,0 1-4 0,0-1 0 0,2 1 0 0,-1 1 0 0,-1-1 0 0,2 2 0 15,0 0 0-15,0 0-4 0,-2 1 12 0,2 1-8 0,-1 0-4 0,0 0 4 16,-1 1 0-16,0 1 0 0,-1 1 0 0,1 0 0 0,-2 0 8 0,0 2 0 0,0 0-12 15,1 0 8-15,-1 1-4 0,-2 1 0 0,1-1-8 0,0 2 8 16,-1-2 0-16,0 3 0 0,-2 0-4 0,2 0 0 0,-1 1-4 0,-1-2-12 0,0 4-16 16,-1-2-16-16,0 0-24 0,-1 1-32 0,0 0-4 0,-1 2 12 0,0-2 12 15,-1 1 8-15,0 0 8 0,-1 1 4 0</inkml:trace>
  <inkml:trace contextRef="#ctx0" brushRef="#br0" timeOffset="240242.7411">3539 14337 27 0,'-6'1'36'16,"0"-1"0"-16,-1 0 0 0,3 0 0 0,-2 0-4 0,1 0-8 0,0 1 0 15,1-1-4-15,-1 0-4 0,1 0 0 0,2 0 0 0,0 0 0 0,2 0 0 16,0 0 0-16,2-1 0 0,0 1-4 0,4-1 4 0,-1 1-4 0,2-1 4 0,0-1 0 15,1 2-4-15,3-2 4 0,0 0 0 0,1-1 0 0,1 1-4 0,0 0 0 16,2-1 4-16,-1 1-8 0,2-1 0 0,0 0 4 0,1-1-4 0,0 1 4 16,2 0-4-16,0-1 4 0,-1 1-4 0,1-1 0 0,-1 0-8 0,2 0-4 0,-1 0 8 15,-1-1-4-15,1 0 8 0,-1 2-4 0,-2-2-4 0,1 2 8 0,-1-2-12 16,0 2 12-16,-2-1-12 0,0 0 4 0,-1 1 8 0,-2 0-8 0,1 0 0 0,-1 0-8 15,-2 0 12-15,1 1-12 0,-2-1 8 0,-1 1 8 0,0 0-12 16,0 0-4-16,-2 1 8 0,-1-1-4 0,1 2-4 0,-3-2-12 0,0 1-12 0,-2 0-8 16,0 1-12-16,0 0-16 0,-2-1-24 0,0 1 8 0,-2 0 8 0,0-1 8 15,-1 1 8-15</inkml:trace>
  <inkml:trace contextRef="#ctx0" brushRef="#br0" timeOffset="242921.8943">3764 13845 19 0,'-2'-2'32'0,"-1"1"0"15,2 0-8-15,-2 0-4 0,2 0 4 0,-1 1-4 0,0-2-4 0,0 2 0 16,0 0 0-16,2 0-4 0,-2 2-4 0,0-2 4 0,1 1 0 0,0 1-4 15,0 0 0-15,-1 0 0 0,0 0 0 0,2 1 0 0,0 0 0 0,0 1-4 0,0 1 4 16,0 0 0-16,1 0-4 0,2 1 4 0,-2 1 0 0,0 0 0 0,2 1 0 16,-1 1 0-16,-1 1 0 0,2 0 0 0,-1 2 0 0,1 0-4 0,-2 2 0 15,2-2 4-15,-1 4 0 0,1-1 0 0,0 0 0 0,0 2-4 0,0 0 0 0,0 0 4 16,-1 2-8-16,1-1 0 0,0 1 4 0,0 0 0 0,0 1-4 0,0 0 8 15,0 0-4-15,0 0-4 0,0 0 4 0,1-1-4 0,-2 1 0 0,1 2 4 0,0-2 0 16,-1 0-4-16,1 0 4 0,0 1-4 0,0-1 4 0,-1-1-4 0,0 0 4 16,1 0-4-16,0 0 4 0,-1-1-4 0,0-1 0 0,1-1 4 0,-1 1-4 15,1-3-8-15,-1 1 8 0,0-2 4 0,0 1-4 0,0-2 4 0,0 0-4 16,0-2 4-16,1 0-4 0,-2 0 0 0,1-2 0 0,0 2 4 0,-2-3 0 0,2 0-4 15,-1 0 4-15,0 0-4 0,0-2 0 0,-1 0 0 0,1-2 0 0,0 1 0 16,0-2 4-16,-1-1 4 0,1 1-8 0,-1-1 0 0,0-1 4 0,0 2 0 0,0-2-4 16,0 0 0-16,0-2 0 0,0 2 0 0,0 0 0 0,-1-1 0 15,1-1 0-15,0 1-4 0,0 0 0 0,0-2-8 0,-1 1-8 0,1 0-12 0,-1-2-16 16,0 1-36-16,1 0 0 0,-1 0 4 0,0-2 12 0,0 2 4 0</inkml:trace>
  <inkml:trace contextRef="#ctx0" brushRef="#br0" timeOffset="244119.9629">4669 11072 15 0,'-3'-4'28'0,"0"2"0"16,0 0 0-16,1 0-4 0,-1 0-4 0,1 2 0 0,0-2-4 0,0 0 0 0,1 1-4 16,0 1-16-16,0-1 20 0,0 1-4 0,1 1 0 0,0-1 0 0,1 2-4 15,-1-1 0-15,1 1 0 0,0 2 4 0,0-3-8 0,0 2 4 0,1 1-4 16,0-1 4-16,0 0 0 0,0 1 0 0,1 0 0 0,1 1-8 0,-1-2 8 0,1 2-4 15,0-1 0-15,1 0-4 0,-1 0 4 0,2 1 4 0,-1-2 0 0,2 1-4 16,0-1 0-16,-1 1 0 0,1-1 4 0,3 0 0 0,-2-1 0 0,2-1 0 16,1-1 0-16,-1 0 0 0,2-2 0 0,0 0-4 0,1-2 4 0,1-1 0 15,0 1-4-15,1-3-4 0,-1 0 8 0,2-2-4 0,-1 1 0 0,1-3 4 0,-1 1-4 16,1-2 0-16,-1 1-4 0,1 0 0 0,-2-1 0 0,2 0 4 0,-2-1-4 15,0 3 0-15,0-3 0 0,-2 2 4 0,1 0 0 0,-1 0-4 0,0 1 4 0,-1 0-4 16,-1 1 0-16,0 0 4 0,-1 0 0 0,0 2 0 0,-2 1 0 0,1-1 0 16,-2 4 0-16,0-1 0 0,-1 2 0 0,-1 0 4 0,1 1-4 0,-2 2 4 15,0 0-4-15,1 1-4 0,-1 1 8 0,-1 0 0 0,1-1 0 0,-1 3-4 16,2 0 0-16,-2 0 4 0,1-2-8 0,1 2 8 0,-1 0-8 0,0-1 4 0,1 2-4 15,-1-2 4-15,1-1-4 0,-1 2 4 0,1-1 4 0,2 1-4 0,-2-2-8 16,1 1 12-16,-1 0 0 0,1-1-4 0,0 0 0 0,0 0-4 0,2-1 0 0,-1 1 0 16,-1-1 8-16,1 0-8 0,1-2 4 0,0 1-4 0,1-1-4 15,-1 0 8-15,1 0-8 0,1-1 12 0,0 1 0 0,0-3-4 0,1 0-4 0,0 0 8 16,1 1 0-16,1-2-4 0,-2 1-8 0,1-2 4 0,1 0-4 0,0 0 0 15,0 0-12-15,0 2-8 0,-1-2-12 0,1 1-12 0,-2-2-16 0,0 3-16 0,1-1-16 16,-2 0 12-16,0 1 8 0,0 1 8 0,-1-1 8 0</inkml:trace>
  <inkml:trace contextRef="#ctx0" brushRef="#br0" timeOffset="247454.1536">4542 11037 19 0,'-6'4'32'0,"2"1"-4"0,-1-3-4 0,1 1 0 0,0 0-4 0,1 0-4 0,0 0-4 16,-1-1 4-16,1 1-4 0,0 0 0 0,2-1 0 0,-2 1 0 15,2-1-4-15,-1-1 0 0,0 1-4 0,1 0 4 0,0-2 0 0,0 2-4 0,0-1 0 16,1 0 0-16,1 0 0 0,1-1 0 0,-1 0 4 0,3 0 0 0,-1 1-4 0,1-1 4 15,2-1-16-15,-1 1 16 0,1-1 0 0,0-1 0 0,2 0-4 0,0 0 4 16,0-1-8-16,1 0 8 0,2-1-4 0,-1 0 0 0,0-2 0 0,4 1 0 16,-3-2 0-16,2 0 0 0,2-1-4 0,-1 1 0 0,3-2 4 0,-1 0 0 15,2-1-4-15,1-1 4 0,-1 1-4 0,1-1 0 0,1 0 4 0,0 1 0 0,1-2-4 16,-2 1 0-16,3-1 0 0,-2 3 4 0,1-2-8 0,-1 1 4 0,0 1 0 15,0 0 0-15,0 2 4 0,0 0-4 0,-1 2 0 0,0-1 4 0,-1 2-4 0,0 2 0 16,-1 1 4-16,0 1 0 0,0 1-8 0,-1 1 8 0,-1 2-4 0,-1 1 0 16,1 1 4-16,-2 1-4 0,1 0 0 0,-3 2 4 0,0 1 0 0,1 2-4 15,-2-2 0-15,0 3 4 0,0-2 0 0,-1 1 0 0,-1 0 0 0,2 1 0 16,-2 0 0-16,0-1-4 0,0 0 0 0,1 1 4 0,-2-1 0 0,1-1 0 0,0 0-4 15,0-2 4-15,0 1 0 0,0 0-4 0,0-3 4 0,1 1 0 0,-1-2-4 16,1 0 4-16,0-2 0 0,0 0-4 0,0-2 4 0,0 0 0 0,2-1 0 0,-2-2-4 16,1 1 4-16,2-3-4 0,-1 0 4 0,1-1 0 0,0-1 0 15,-1 2-8-15,2-3 4 0,-1 0 0 0,1 0-4 0,-1 0 0 0,1-1 0 0,0 2-4 16,-1-2-8-16,1 2-16 0,-1 0-24 0,-1 0-28 0,0 1 4 0,0 1 4 15,-1 0 12-15,0 1 8 0</inkml:trace>
  <inkml:trace contextRef="#ctx0" brushRef="#br0" timeOffset="250972.3546">5809 13760 27 0,'14'-12'68'0,"0"2"-8"0,-2 1-4 0,0 0-8 0,-2 2 0 0,0 0-16 16,-2 1 4-16,1 1 0 0,-3 1-4 0,-1 1 0 0,-1 0-16 0,-1 2 12 15,-1 0-12-15,-2 2 4 0,-1-1 0 0,-1 3-4 0,-1 0-12 0,-1 2 12 0,-1 0-4 16,-2 0 0-16,-1 2-8 0,0 1 4 0,-1 1 0 0,0 1 0 0,0-1-8 15,0 4 4-15,-1-1 0 0,0 2-8 0,-1 1 4 0,0-1 0 0,-1 2 8 0,0 0-4 16,-1 1-12-16,1 1 12 0,-2 0-12 0,1 0 4 0,1 0 12 16,-2 2-4-16,1-2 0 0,0 0-4 0,0 0 4 0,1 1-4 0,0-2 0 0,0 0 0 15,0-1 0-15,1 0-8 0,1-1 4 0,-1 0-4 0,1-1-4 0,1-1-4 16,0-1-8-16,1 0-12 0,0-2-8 0,1-2-24 0,-2 1-16 0,3-2-4 0,-1 0 8 15,1-3 12-15,1 0 4 0,-1-1 8 0</inkml:trace>
  <inkml:trace contextRef="#ctx0" brushRef="#br0" timeOffset="251157.3654">5497 13932 7 0,'5'-10'48'0,"-1"1"-4"0,1 1-8 0,1 1 0 0,0 0-8 16,1 2 4-16,-1 2-8 0,0 0 0 0,1 2 0 0,1 0-4 0,0 2 0 16,-1 0-4-16,1 2 0 0,0 0 0 0,-1 1-4 0,2 1 4 0,-2-2 0 15,2 4-4-15,-1-1 0 0,1 1-4 0,-1-2 0 0,1 4 0 0,1-3 0 0,0 3 0 16,0-2-4-16,1 2 0 0,0-1 0 0,1 1 0 0,0 0-4 0,0 0 4 15,0-1 0-15,-1 0-4 0,2 1 0 0,-2-2-4 0,0 2 8 0,1-2-4 0,-1 1-4 16,0-1 0-16,0 0-8 0,0-2-12 0,0 0-8 0,-2 0-24 16,1-1-24-16,0-1-4 0,-1-1 12 0,0 1 8 0,0-3 8 0</inkml:trace>
  <inkml:trace contextRef="#ctx0" brushRef="#br0" timeOffset="251398.3792">6138 13623 15 0,'4'-7'32'16,"-3"3"0"-16,2 0-4 0,-1 2-4 0,0 1 0 0,0 1 0 0,0 2-4 15,0 0 4-15,-1 3-4 0,1-1-4 0,0 3 4 0,-2 0 0 0,2 1-4 0,-1 2 4 16,0-2-4-16,0 2-4 0,-1 1 0 0,1 0-4 0,1-1 4 16,-1 2 0-16,3 0-4 0,-2-1 0 0,2 2-4 0,0-2 4 0,1 1-4 0,0 0 4 15,0 0-4-15,2-2 4 0,0 0-4 0,0 0 4 0,0-2-4 0,3 0 4 16,-1-1-4-16,0 0 0 0,1-1 0 0,0-1 0 0,1-2 0 0,1 1 0 0,0-2 0 15,-1-1 0-15,3-1 0 0,-1 0-4 0,0 0 0 0,0-3 0 0,2 1 0 16,-2-1 0-16,0-2 0 0,1 0-4 0,-1 0 0 0,2-1-4 0,-3-1-8 16,1 0-12-16,-1 0-8 0,-2 0-24 0,1-1-24 0,-1 0 8 0,-2 1 4 0,1-2 12 15,-2 2 4-15</inkml:trace>
  <inkml:trace contextRef="#ctx0" brushRef="#br0" timeOffset="251643.3932">6427 13614 39 0,'2'4'40'0,"1"1"-4"15,0 2-4-15,-1 0 0 0,2 2 4 0,-1 0-4 0,0 1 0 0,2 2 0 0,-2 1-8 16,0 0 0-16,0 2 0 0,1 1-4 0,-1 1 0 0,0 1 0 16,1 1-4-16,-1 1 4 0,1 1-8 0,-1 1 0 0,1 0 4 0,-1 1 0 0,0 1 0 15,1 1-8-15,0-1-4 0,-1 1 0 0,2 0 4 0,-2 2 4 0,0-1 8 16,2 2-4-16,-2-1-12 0,1-1 0 0,-1 1 8 0,1 1-4 0,0-2 0 0,1-1 4 15,-1-1-12-15,0 0 0 0,1-1 12 0,-1-1-4 0,1-2-4 0,0-1-4 16,0 0 12-16,0-2-4 0,0-1-8 0,-1-2 4 0,1-2-4 0,0-1-4 16,0-1 0-16,-1-3-4 0,0-1-20 0,-1-1-8 0,0-2-16 0,-1-2-20 15,0-2-32-15,-1-4 12 0,-1 0 8 0,-1-4 8 0,0 0 8 0,-2-3 8 0</inkml:trace>
  <inkml:trace contextRef="#ctx0" brushRef="#br0" timeOffset="253837.5187">4678 13616 19 0,'-1'-4'60'16,"0"-1"-4"-16,-1 1-8 0,1 1-4 0,1-1-4 0,-2-1-8 0,1 3-4 15,1-2 0-15,-1 2-4 0,0-1 0 0,1 2-4 0,0-2 0 0,0 2-4 0,1 0 0 16,1 0-4-16,0 0 0 0,0 1 4 0,1 0 0 0,1 0 0 16,0 0-8-16,0 0 4 0,2 0 0 0,-1 0-4 0,3 1 4 0,0 0-8 0,2 0 12 15,1 1-4-15,-1 0-12 0,3-1 8 0,-1 1 0 0,2 0 0 0,-1 1-8 16,1-1 4-16,1 1 4 0,-1 1-8 0,1-3 0 0,-1 3 12 0,1-1 0 0,-1 0-4 15,0 1-4-15,0 0-4 0,-1 0 12 0,0 1-4 0,-1 0-4 0,0-1 4 16,-1 2 0-16,-1 0-4 0,0-1 8 0,-2 1-4 0,0 1 0 0,-1-1-4 16,-2 2 4-16,0-1 0 0,-1 0 0 0,-2 2 4 0,0-1 4 0,-2 0 0 15,0 1-4-15,-2-1-4 0,0 1 4 0,-2 0-4 0,0 1 0 0,-1-1 8 0,-1 0-4 16,1-1 0-16,-2 2 0 0,1-2 0 0,-1 1-4 0,-1-1 4 0,0 0-4 15,2-1 0-15,-2 1 0 0,0-1 0 0,1 0-4 0,0-1 0 0,0 0 4 0,1-1-4 16,-1-1-4-16,1 2 0 0,2-2 0 0,-1 0 4 0,1 0-4 0,-1-1 0 16,3-1 0-16,0 2 0 0,2-1 0 0,0 0 0 0,3-1 0 0,0 1 0 15,1-1 0-15,2 0 0 0,0-1 4 0,2 2-4 0,2-1 0 0,0 0 0 0,0 0 0 16,3-1 0-16,-1 0 0 0,2 2 0 0,0-2 4 0,2 1-4 0,-1 0 4 15,1 1 0-15,0-1 4 0,1 1 0 0,-1-1 0 0,2 1 0 0,-1 1-4 0,0 0 4 16,-1-1 4-16,1 2 4 0,-1 0 0 0,1 1 8 0,-4 0 4 16,2 0 4-16,-2 1 0 0,-2 2-8 0,0-1 0 0,-3 2 8 0,1 1-8 0,-3 0 0 15,-1 1 0-15,-2 1-8 0,-1-1 4 0,-1 3 0 0,-2-1-4 0,-2 2 0 16,0 0-4-16,-2 0 0 0,-2 0 0 0,-1 2 0 0,-1-1 0 0,-1 2-12 0,-1-1 12 15,-1 1-4-15,-3 0-4 0,1 0-4 0,-2 0 0 0,0 0 4 0,-2-1-4 16,1-1 0-16,-1-1 0 0,1 2-8 0,-2-3 0 0,1-1-8 0,1-1-8 16,-1-1-16-16,1 0-12 0,-1-3-20 0,2 0-16 0,-1-2-4 0,2-1-16 15,0-1-28-15,1-2-16 0,0-1 12 0,2 0 16 0,0-2 12 0,2-1 16 0,2 0 12 16,0-3 8-16,0 0 8 0,3-2 8 0</inkml:trace>
  <inkml:trace contextRef="#ctx0" brushRef="#br0" timeOffset="255515.6147">7365 13780 31 0,'-15'0'48'0,"-2"0"-4"0,1 0-4 0,-1 0 0 0,2 0-8 16,-2 0 0-16,2 0 0 0,-1 0-4 0,2 0-4 0,-1 0 0 0,1 3-4 15,0-3 0-15,1 1 0 0,0 0-8 0,2 1 0 0,0-1 0 0,0 0-4 0,2 0 0 16,1 0 0-16,2 1 0 0,0 0 0 0,2-1 0 0,3 0 0 16,1 0 0-16,2 1-4 0,2 0 4 0,2 0 0 0,1-1 0 0,0 2-4 0,1-1 4 15,2 0 0-15,0-1 0 0,2 1-8 0,0-1 4 0,0 1 4 0,3-2 4 16,-2 1-4-16,2-1 0 0,1 0 4 0,1-1 0 0,-2 1-8 0,2-3 0 0,0 2 0 15,1-1 0-15,-1-1 0 0,1 1-4 0,0-3 0 0,-1 3-4 0,1-3 4 16,-1 1 4-16,0 0 4 0,-1-3-8 0,1 3 8 0,-1-1-12 0,-2 0 4 16,1 0 0-16,-1-1-4 0,-1 1 8 0,1 0 0 0,-3-1 0 0,0 1 0 0,0 1 0 15,-2 0 0-15,0 0-8 0,-1 0 8 0,-1 0 0 0,0 1-8 0,-2 1 8 16,0-1 4-16,-2 1-8 0,1 0-8 0,-2 1 8 0,0 0 0 0,-2 1 0 0,0 0-12 15,-2 0-4-15,0 0-8 0,-2 0-4 0,0 0-12 0,0 0-4 0,-1 1-12 16,-1 0-12-16,1-1-24 0,-3 1 8 0,1 0 8 0,-1-1 8 0,1 1 8 16</inkml:trace>
  <inkml:trace contextRef="#ctx0" brushRef="#br0" timeOffset="255781.6299">7315 13489 19 0,'-2'-9'36'15,"1"2"-4"-15,-2 0-4 0,3 0-4 0,0 1 0 0,0 1-4 0,2 1 4 16,-1 0-8-16,1 1 0 0,0 1 0 0,0 1 4 0,1 2 0 0,-1 1 4 0,2 1-4 15,-1 3 4-15,0 0-4 0,0 3 0 0,1 1 4 0,-1-1 0 0,0 4 0 16,2 1-4-16,-2 1-4 0,1 1 8 0,0 1-4 0,0 3-4 0,0 0-4 16,1 1-4-16,-1 0 0 0,1 3 0 0,-1-1 8 0,0 2-8 0,0 2 8 0,0 0-8 15,0 0 0-15,0 1 8 0,0 0-8 0,-1 0 0 0,0 0-4 0,0 0 8 16,0 0 0-16,-1 0-8 0,1-2 4 0,-1 0-4 0,2-1 0 0,-3-1-8 0,2 0 4 15,-1-2 8-15,0-2-8 0,0 0-4 0,1-1 4 0,-2-2 8 0,2-1-8 16,-2 0-4-16,1-3 8 0,1 1-4 0,-2-3 0 0,1-1-8 0,-1-1 4 16,0-1 0-16,2-1-4 0,-1-2-12 0,-2-2-8 0,1 0-12 0,-1-2-12 15,1 0-16-15,-1-2-28 0,0-1 0 0,0-1 8 0,0-2 12 0,0 0 12 0,-1-2 4 16</inkml:trace>
  <inkml:trace contextRef="#ctx0" brushRef="#br0" timeOffset="258389.7791">8304 13280 3 0,'-2'0'40'0,"1"0"0"0,0-1-8 15,0 1 0-15,0 0-4 0,0 0-4 0,1 1 4 0,-2 1-4 0,1-1 0 0,0 3-4 16,0-1 0-16,1 0 0 0,-1 2 0 0,1 0 0 0,0 1-4 16,0 1 0-16,0 0-4 0,1 0 4 0,1 2 4 0,1 0-4 0,-2 1 0 0,2 1 0 15,2 0 0-15,-1 2-4 0,1 0 4 0,0 1-4 0,3 0-4 0,-2 2-4 16,2-1 0-16,0 0 4 0,1 2-4 0,0 1 8 0,0-1 4 0,1 1-8 0,1 0 4 15,0-1-4-15,0 1 0 0,1-2 0 0,-1 1 4 0,2 0-12 0,-1-1 8 16,0-1-8-16,1 1 8 0,0-2 0 0,0 0-4 0,-2-1 4 0,3-1-4 16,-3 1 4-16,1-2 0 0,0 1-4 0,-1-1 8 0,-1-2-8 0,0 1 12 0,-1-2-4 15,0 2 0-15,0-2 4 0,-3-1 0 0,1 0 4 0,-2 0-4 0,0 0 4 16,-2-1 0-16,1 1 0 0,-2-2-8 0,-1 0 0 0,-1 0 0 0,-2 1 0 0,1 0-4 15,-4-1 0-15,2-1 0 0,-2 1 0 0,-1 0 0 0,0-1-4 0,-2 0 4 16,1 0-4-16,-2-1 0 0,1 0 0 0,-3-1 0 0,1 1 0 0,-1-1-4 16,-1 0 0-16,0-1 0 0,-1 0 0 0,1-1 0 0,0 0 0 0,-3-1 0 15,2 0 0-15,-2 0 0 0,1-2 0 0,-1 1 0 0,1-1 0 0,-2-1-8 0,2-2 8 16,-1 2-4-16,2-4-4 0,-1 1-4 0,0-1 8 0,2-3-4 0,-1 0 4 15,1 0-4-15,1-1 0 0,0-2 0 0,1 0 0 0,1-1 0 0,1-1 4 0,0-1-4 16,2 0 0-16,0-3 4 0,2 0 4 0,-1 1-4 0,3-2 0 16,0-1 8-16,2 0-16 0,0-1 8 0,2-1 8 0,1 0 0 0,2 1-8 0,0-2 8 15,1 1-8-15,1-1 4 0,2 1-4 0,1-1 4 0,0 2 0 0,1-1 0 16,2 1 0-16,0 2 0 0,1 0 4 0,-1 0 0 0,2 2 4 0,0 1-12 0,1 0 0 15,-1 1 4-15,2 2 0 0,-1 1 4 0,1 1-4 0,-1 0 0 0,1 1 4 16,-1 3-4-16,1-1 0 0,-1 1 4 0,1 3-4 0,0-1 0 0,-2 1 4 16,2 1 0-16,-3 1 0 0,0 1-4 0,1 0 8 0,-1 1-8 0,-1 0 0 15,0 2 0-15,0-1 0 0,-2 1 0 0,0 0 0 0,1 1-4 0,-3-1-4 0,0 1 0 16,0 0 0-16,-2 1-8 0,0-1-8 0,-1 1-8 0,1-1-12 0,-3 2-8 15,0-1-16-15,0 0-12 0,-2 1-32 0,1-1 12 0,-2 0 8 0,0 1 12 0,-1 1 4 16,0-1 12-16,0-1 8 0</inkml:trace>
  <inkml:trace contextRef="#ctx0" brushRef="#br0" timeOffset="259106.8201">9313 13390 47 0,'2'-7'52'0,"0"1"0"0,1 0-4 16,-1 0-4-16,-1 1 4 0,1-2-4 0,-1 4-12 0,0-2 8 0,0 0-4 16,0 0-12-16,-1 2 8 0,0 0-16 0,0 0 8 0,-1 1 4 0,0 0-8 0,1 2 0 15,-2 1-4-15,0 1 4 0,1 0-4 0,-1 1-8 0,-1 2 0 0,1 1 0 16,-2 1 4-16,1-1 4 0,-1 2-8 0,1 1-8 0,-1 0 8 0,0 2 0 0,0 0 0 15,-1-1-4-15,-1 3 0 0,0 1 0 0,1-1 0 0,-1 1 0 0,1 0-4 16,-2 2 4-16,0-1 0 0,1 1-4 0,-1 2 4 0,1-2 0 0,-2 0-8 16,2 2 4-16,0-2 8 0,-1 1-8 0,1-1-4 0,-1 0 4 0,1 0 0 0,1-2 4 15,0 1-12-15,-1-1 8 0,0 0-4 0,2-1-4 0,0 0 12 0,0-1-4 16,0 0 0-16,0-2-8 0,2 0 4 0,-1 0 8 0,1-1 0 0,-1-1-16 15,1-1 8-15,1 1-4 0,-1-2-12 0,2 0-12 0,-1-2-8 0,1 0-4 0,0 0-20 16,0-1-20-16,0-2-12 0,0 1 8 0,0-2 8 0,1 0 8 16,-1-1 12-16,0 0 4 0</inkml:trace>
  <inkml:trace contextRef="#ctx0" brushRef="#br0" timeOffset="259677.8527">9041 13378 23 0,'5'5'32'16,"1"0"0"-16,1 2-4 0,1-2 0 0,-1 1-4 0,1 0 0 0,1 2 0 0,0-1 0 15,1 1 0-15,-1 1 0 0,2-1 0 0,-1 1-4 0,1-1 0 0,1 2-4 16,-1-1 4-16,1 1 0 0,1 0-4 0,-2 0 4 0,3-1 4 0,-3 1-12 15,1 0 4-15,2 0 0 0,-3-1 0 0,2 1 0 0,-1-1-4 0,-1 1 4 0,1-2-8 16,-1 1 8-16,0 0-8 0,0-1-4 0,0-1 4 0,-2 1 0 0,2-1 0 16,-2 0-4-16,0 0 0 0,1 0 4 0,-2-2 0 0,1 2 4 0,0-2-8 0,-2 1 8 15,0-1-8-15,-1-1 4 0,1 0 8 0,-1 1-8 0,0-2 0 16,-2 0 0-16,1 1 0 0,-1-1 4 0,-1 0-4 0,0-2 0 0,1 1 4 0,-1 0-4 15,-1-1 0-15,-1 1 0 0,1-1 0 0,-1 0-4 0,-1-1 0 0,0 0 0 16,0 0 0-16,-1 0-4 0,0 0 0 0,0-1 0 0,-1 0 4 0,0 0-8 0,0-1-4 16,-2 1-16-16,0-2-20 0,1 2-12 0,-1-2-36 0,0-1-20 0,0 1 8 15,-1 0 12-15,0-2 8 0,0 1 12 0,0-1 4 0,0 0 8 0</inkml:trace>
  <inkml:trace contextRef="#ctx0" brushRef="#br0" timeOffset="260782.9159">10290 12867 27 0,'0'-3'36'0,"1"0"0"0,-1 0-4 0,1 0-4 0,2 1 0 15,-2 0 0-15,4-1-4 0,-3 3 0 0,2-2 0 0,-1 1 0 0,2 1-4 16,0-1-4-16,0 2 0 0,1-1 0 0,0 1-4 0,0 0 0 0,1 2 0 15,-1-2 0-15,4 2 0 0,-2 0 0 0,0 1-4 0,2 1 0 0,-1 0 0 0,0 0 0 16,0 1 4-16,1 0-8 0,0 1 8 0,-1-1-4 0,1 1 0 0,-2 0 4 16,-1 2-8-16,1-1 0 0,-1 1 4 0,-1 0-4 0,-1 0 0 0,-1 0 0 0,-1 1 8 15,0 1-8-15,-1-2 4 0,-2 2-8 0,-1 0 0 0,-1 1 8 0,0-2-4 16,-2 2 0-16,-1-2 0 0,1 2 0 0,-2-1 4 0,-2 0 0 0,1 1 0 15,-1-1-8-15,0 0 0 0,-1 0 4 0,0-1-4 0,0-1-4 0,-1 2 12 0,1-1-4 16,1-1 0-16,-1 0-8 0,0-1 8 0,0 1 0 0,2-2 0 0,0 0-12 16,-1 0 12-16,2-1 4 0,2 0-8 0,-1-1 4 0,2 0-4 0,1 0-4 0,1 0-4 15,1-1 12-15,1 0-4 0,1 0 0 0,1 0 0 0,2 0-8 16,1 0 16-16,1-1-4 0,2 1 0 0,-1-1-4 0,2 1 0 0,2 1 4 0,-1-1 0 15,1-1-4-15,2 1 4 0,-1 0-12 0,2 1 4 0,-1 0 4 0,1-1 8 16,0 1-16-16,1 0 16 0,-2 1-12 0,1-1 4 0,0 1 0 0,0-1 0 0,-2 0 4 16,0 2-4-16,1-1 4 0,-2 1 0 0,0-1-4 0,-2 0 4 0,-1 3 4 15,0-3 4-15,-1 2-4 0,-3 0 0 0,0 0-4 0,-1 0 4 0,-2 2-4 16,-1-2-4-16,-1 1 4 0,-1 1 0 0,-1-1 4 0,-2 1-8 0,1 0 4 15,-2 0 4-15,-1 0-8 0,0-1 4 0,-2 1-4 0,0 0 0 0,0-1 4 0,-1 1-4 16,0-1-8-16,0 0 8 0,0-1 0 0,-2-1 0 0,1 0 4 0,0 0-4 16,0-1 0-16,0-2 4 0,1 1-4 0,-1-2-8 0,1-1-4 0,0 0-8 0,0-2-12 15,2 0-8-15,-1-2-4 0,2 0-20 0,0-1-20 0,0-1-12 0,2 0 4 16,0-2 12-16,2 1 8 0,1-1 12 0,0 1 4 0</inkml:trace>
  <inkml:trace contextRef="#ctx0" brushRef="#br0" timeOffset="261025.9298">10904 13247 35 0,'4'-8'40'0,"1"2"-4"0,0 0-4 0,-2 0-4 16,1 0 0-16,-1 0-4 0,0 2-4 0,-1 0 0 0,2 0 0 0,-2 2 0 15,0-1-4-15,3 1 0 0,-2-1 0 0,1 1-4 0,0 0 0 0,0-1-4 16,1 2 0-16,1-1 4 0,2 0-4 0,-2-1 0 0,1 1 0 0,2 0 0 15,1-1-4-15,0 0 4 0,0 2-4 0,2-1 0 0,-1-2 0 0,1 2 0 0,1-1-4 16,-1 0 0-16,2 1 0 0,-1-2 0 0,0 1 0 0,0-1 0 0,-1 0 4 16,2 2 0-16,-1-3 0 0,0 2 0 0,-1-1-4 0,0 0 0 0,-1 0 0 0,0 0 0 15,0 1 0-15,-2-1 0 0,0 1 0 0,-2-1-4 0,2 2-4 16,-4-2-8-16,1 2-4 0,-2-1-24 0,0 1-16 0,-3 0-20 0,1 0 4 0,-1 0 8 15,-1 0 12-15</inkml:trace>
  <inkml:trace contextRef="#ctx0" brushRef="#br0" timeOffset="261277.9443">11032 12875 3 0,'0'0'32'0,"1"1"4"0,0 1-4 0,0-1-4 0,0 2 4 0,2 0 0 15,-1 2-4-15,1 2-4 0,-1-1 4 0,1 1-8 0,0 0 0 16,0 3 0-16,1 0 0 0,-1 3 0 0,1-2-4 0,1 2 4 0,-2 2-4 0,1 0 0 15,0 2-4-15,0 0 4 0,0 2-4 0,-1-1 0 0,1 3-4 0,0-2 0 16,0 1 0-16,-2 2 0 0,2 0-4 0,-2-1 0 0,1 0 4 0,0 1 0 0,-1-1 0 16,1 0-4-16,-1-1-4 0,2 1 4 0,-2-2-4 0,0 0 8 0,0-1-8 15,1 0 4-15,-2 0-4 0,2-2 4 0,-2 0-4 0,1-2 0 16,0 1-4-16,-1-3 4 0,1 0 0 0,-1 0 0 0,1-4-4 0,0 2 4 0,-1-3-4 0,0 0-4 15,2-2-8-15,-2 0-12 0,0-3-8 0,0 1-32 0,0-2-16 0,0-1 0 16,0 0 8-16,-1-2 8 0,0 0 8 0</inkml:trace>
  <inkml:trace contextRef="#ctx0" brushRef="#br0" timeOffset="261704.9687">11963 12964 19 0,'10'-14'44'0,"-2"-2"-8"0,-1 2-4 15,-1 1 4-15,-2-1-4 0,-2 3-4 0,0 0 4 0,-3 0-8 0,0 1 0 16,-3 1 0-16,-1 1 0 0,0 2-4 0,-3 1 0 0,-1 0-4 0,-2 2-4 0,1 1 8 16,-3 1-4-16,-1 2 0 0,1-1 4 0,-2 3-4 0,1 0-4 0,-1 1-4 15,1 1 0-15,0 1 0 0,0 0 4 0,1 2-8 0,-1 0 4 0,3-1-4 16,-2 2 4-16,2 0 0 0,1 0-4 0,-1 0-8 0,2 1 12 0,1-1-4 15,1 1 4-15,0 0 0 0,2-1 0 0,0 0-8 0,2 0 0 0,0 0 8 0,2-2-8 16,1 0 8-16,0 0 0 0,2-1 0 0,1-1-4 0,1-1-4 0,1-1-4 16,1 1 4-16,2-1 4 0,0-1 0 0,1-1 0 0,1 1 0 0,1-1-8 0,-2-1 4 15,4 0 0-15,-2 1 0 0,1-1 0 0,1 1 0 0,-1 0 8 0,2-1-8 16,-1 2 0-16,-1 0 4 0,1 0 0 0,0 1 0 0,-1 2 0 0,0 0 4 15,0 1-4-15,0 1 0 0,-1 2-4 0,1 1 0 0,-3 2 0 0,0 1 8 0,-1 1-4 16,0 1 4-16,0 2-8 0,-3 1 8 0,0 0-4 0,0 2 8 0,-1 1-4 16,0 0 0-16,-2 0-4 0,0 2-4 0,-1 0 4 0,-1 0 4 0,0 0-4 0,0 1 4 15,-1 0-8-15,-1 0 0 0,0 0 4 0,0-2 0 0,0 1 0 16,-1 0-4-16,0-1 0 0,1-1 0 0,-1-2 0 0,0 0 4 0,1-2-4 0,-1 0 0 15,1-2 0-15,-1-2 0 0,1-1 0 0,0 0 4 0,0-2-4 0,-1-1 4 16,2-1-4-16,-1-1-4 0,1-3 4 0,0 0-4 0,0 0 0 0,0-3-4 0,0 0-4 16,1-2-16-16,-1 0-8 0,1-3-16 0,-1 0-8 0,1 0-24 0,0-3-24 15,0 1 12-15,0-3 12 0,0 0 8 0,0-1 8 0,0 0 8 0</inkml:trace>
  <inkml:trace contextRef="#ctx0" brushRef="#br0" timeOffset="262074.9898">12707 13089 39 0,'0'-12'44'0,"0"0"-4"0,-1 1-4 0,1 2-4 16,0-1 0-16,0 3-4 0,0 0 0 0,0 1-4 0,-1 3 0 0,1-1 8 15,-1 3-8-15,0 1-4 0,0 1 0 0,-3 0 0 0,3 2 4 0,-2 2-8 0,1 0 4 16,-2 1-4-16,0 0 0 0,1 1 0 0,-1 2-8 0,0 0 8 0,-2 1-12 16,2 1 8-16,-1 2-4 0,-1 0-8 0,0 0 8 0,1 1 0 0,-3 0-4 0,2 1 0 15,-2 2-4-15,0-1 4 0,-1 0 0 0,1 1 0 0,0-1-4 16,-2 1-4-16,1 0 12 0,1-2 0 0,-1 1-12 0,-1 0 4 0,2-1-4 0,0-1 4 15,0 0 4-15,-2-2-12 0,2 3 4 0,0-4 4 0,0 1 0 0,0-3-8 16,1 1-12-16,-1-2-8 0,1-1-12 0,0-2-16 0,0 0-24 0,0-2-12 0,2 0 12 16,-3-3 8-16,2 0 8 0,1-2 8 0</inkml:trace>
  <inkml:trace contextRef="#ctx0" brushRef="#br0" timeOffset="262267.0008">12389 13196 27 0,'8'-5'40'0,"-2"3"0"0,1-1-4 0,0 2 0 0,3 1-4 0,-2 1 0 0,1 2 0 15,2-1-4-15,-2 2 4 0,0 1-4 0,1-1 4 0,2 1-8 0,-1 2 0 16,0 0 4-16,0-1 0 0,0 0-12 0,3 2-4 0,-2-1 8 0,1 0-12 15,0 0 8-15,0 0-4 0,1 0-8 0,-1-2 8 0,1 2 0 0,-2-2-4 0,1 0 0 16,-1 0-8-16,-1 0 12 0,2 0-12 0,-3-1 8 0,0-1-8 0,2 1 8 16,-3-1-4-16,0-2-8 0,1 3 4 0,-3-2-4 0,1 1 8 0,-1-2-12 0,1 1 8 15,-3-1-8-15,0 1-12 0,0-1-12 0,-1 0-16 0,0 0-24 16,-2-1-20-16,2 0 0 0,-3 0 12 0,0 0 8 0,1-1 12 0,-2 0 0 0</inkml:trace>
  <inkml:trace contextRef="#ctx0" brushRef="#br0" timeOffset="262595.0196">12960 12959 7 0,'10'-7'40'0,"1"1"0"0,0 1-4 16,0 1-4-16,1 2 0 0,-2 0-4 0,2 1 0 0,0 1 0 0,-1 0-4 0,1 1 0 16,-2 0-8-16,1 1 0 0,0-1 4 0,-1 3 0 0,0-1-4 15,0 0 8-15,-1 1-8 0,0-1 4 0,0 2-8 0,-1 0 12 0,0-1-8 0,-1 2 0 16,1-1 4-16,-1 2 0 0,1 0 0 0,-2 2 0 0,-1-1-8 0,1 1 0 15,-2 1 8-15,0 1-4 0,-1 0 0 0,-2 0 4 0,0 3-4 0,-2-1 0 0,1 1 0 16,-3-1 0-16,1 1 0 0,-2 3 0 0,-1-2-4 0,-1 1 0 0,1 0 4 16,-2-1 0-16,1 2-4 0,-3-2 0 0,2 1-4 0,0-1 4 0,-1 0-4 15,-1 1 4-15,2-1-4 0,-1-3 0 0,1 3 0 0,-1-2 0 0,1 0 0 16,1-1 0-16,1 0 0 0,0-2-4 0,1 0 0 0,0-2 0 0,2 1 0 0,1-2 0 15,2-2-4-15,0 1 4 0,2-4 0 0,2 2-4 0,1-2 4 0,0-1 0 16,2-1 0-16,2-1-4 0,0-1 0 0,2-1 0 0,0 0 0 0,1-1 0 0,1-1 4 16,0 1-4-16,1-1 0 0,0-2 0 0,1 1 0 0,-1-1-4 0,1 1 4 15,0 0-4-15,-1-2-12 0,1 1 0 0,-1-1-8 0,0 0-8 0,-2 0-12 16,1-1-8-16,-1 2-12 0,-1-3-12 0,-1 2-20 0,-1 0-16 0,0-2 8 15,-3 2 12-15,0 0 12 0,-2-2 4 0,-1 2 12 0,0-1 8 0</inkml:trace>
  <inkml:trace contextRef="#ctx0" brushRef="#br0" timeOffset="263392.0652">6981 8661 35 0,'-11'3'36'0,"2"-1"-4"0,1 1-4 0,-1-1-4 0,-1 1 0 0,1-1-4 16,1 1-4-16,-1-1 0 0,2 1 0 0,-2 0-4 0,2-2 0 0,-1 0 0 16,2 2-4-16,-1-2 0 0,2-1-4 0,1 1 4 0,-1-1-4 0,2 0 0 15,2-1 4-15,2 0-4 0,2 1 0 0,2-3 0 0,0 1 4 0,3 0 0 16,0 0-4-16,3 0 4 0,0-1-4 0,2 0 0 0,0 0 0 0,1 0 0 0,3-1 0 15,-1 0 0-15,3 0 0 0,0-1-4 0,1 0 4 0,2 0-4 0,1 0 0 16,1-2 0-16,-1 1 4 0,3-1 0 0,0 0 0 0,2 0 0 0,1-1-4 0,0-2 4 16,2 1 0-16,0 0-4 0,1-1 4 0,0 0-4 0,1 0 0 0,-1-1 0 15,0-1 0-15,0 1 4 0,0 0-4 0,-1-1 0 0,-1 2 0 0,-1-2 0 16,-1 1-4-16,-1 2 4 0,-2-2 0 0,-2 1 4 0,0 1-4 0,0 1 0 15,-3 0 0-15,-2 1 0 0,-1-1-4 0,-2 3 0 0,-1 1-4 0,-3 0-8 0,-2 2-16 16,-1 1-24-16,-3 1-20 0,-3 1 4 0,-1 2 8 0,-3 1 4 0</inkml:trace>
  <inkml:trace contextRef="#ctx0" brushRef="#br0" timeOffset="264298.1168">3881 15968 31 0,'-12'-3'44'0,"0"1"-8"15,1 0-4-15,0 0-4 0,1 1-4 0,0-1-4 0,2 2 0 0,0-1 0 16,1 0-4-16,2 1 0 0,-1 1 0 0,2-1-8 0,1 1 0 0,1 0 4 0,0 1-4 16,2-1 0-16,0 0 0 0,2 1 0 0,0-2 0 0,2 2-4 15,1-1 4-15,1 0-4 0,2-1 0 0,3 1-4 0,0-1 4 0,1-1 0 0,1 0 0 16,1-1-4-16,3 1 0 0,-2-1 4 0,2 0 0 0,1-1 0 0,0 1-4 15,1-3 0-15,-1 1 4 0,1 0-4 0,1-1 4 0,-1 0-4 0,0-1 0 0,0 0 0 16,0 0 4-16,-1 0-4 0,-1-1 0 0,1 1 0 0,-2-1 0 0,1 0 0 16,-3 2 0-16,1-2 0 0,-1 0 0 0,-1 2 0 0,-1-1 0 0,-1 1 0 15,-1 0 0-15,-1 1 0 0,-1-1-4 0,-1 2-4 0,-2 0-4 0,-1 1-12 16,-1-1-4-16,-2 2-12 0,-1-2-28 0,-1 3-4 0,-2 0 8 0,0 0 4 0</inkml:trace>
  <inkml:trace contextRef="#ctx0" brushRef="#br0" timeOffset="264576.1327">3948 15539 27 0,'4'2'40'0,"2"-1"4"0,-1 3 0 15,0 1-4-15,1 1 0 0,-1 0-4 0,1 4 0 0,-2 0 0 0,1 1 0 0,0 2 0 16,1 2 0-16,0 0-12 0,0 2 4 0,1 1 8 0,0 1-8 0,-1 1-8 15,1 2 0-15,-1 0 0 0,1 2 0 0,0 1 0 0,-1 1-4 0,2 0 0 0,-3 1-4 16,2 2-4-16,-1-2 4 0,-1 2 0 0,0 0 0 0,2-1-4 0,-2 1 0 16,0-2 4-16,-1 0-4 0,1-1 0 0,-1 1-4 0,1-2 0 0,-2 0 4 15,1-3 0-15,0 0-4 0,-1-2-4 0,0-1 0 0,0-1 0 0,0-1 4 16,-1-2 0-16,0-1 0 0,2-2 0 0,-3 1-4 0,2-3 0 0,-3-1 0 0,2-1 0 15,-1 0 0-15,1-2 4 0,-1-1-4 0,0-2 0 0,1-1-4 0,-1 1-8 16,0 0-12-16,1-3-8 0,-1 0-16 0,0-3-8 0,1 0-24 0,-1 0-28 0,0-1 4 16,0-1 12-16,1 0 12 0,-1-1 4 0,2-1 12 0,-1-2 4 15</inkml:trace>
  <inkml:trace contextRef="#ctx0" brushRef="#br0" timeOffset="265178.1671">5372 15537 39 0,'2'-5'44'0,"0"-2"-4"0,1 4-4 0,-2-4 0 0,2 3-4 16,-1 0 0-16,1-1 0 0,-2 2-4 0,1 1-4 0,-1-1 0 0,-1 2 0 15,-1 0-4-15,0 1-4 0,0 1 4 0,-1 0-8 0,-1 2 0 0,-1 1 0 16,0 2-4-16,0-1 0 0,-1 2 0 0,0 0 4 0,0 3-4 0,0-1 0 0,0 1 0 15,0 1 0-15,-1 1 0 0,0 0-4 0,0 0 0 0,1 2 0 0,-1-1 0 16,0 1 0-16,0-1 0 0,0 3 0 0,1-2-4 0,1 0 0 0,-1 1 8 0,0-2-4 16,1 2 0-16,1-2-4 0,1 1 4 0,-1-1-4 0,2 0 4 15,0-2-4-15,1 1 4 0,1-2-4 0,1 0 8 0,1 0-4 0,0-2-8 0,2-2 12 16,0 1 0-16,1-2 0 0,1 0-4 0,0-2 4 0,2-2 0 0,0 2-4 15,0-3-4-15,0 0-8 0,3 0 12 0,-1-3-8 0,0 2 8 0,1-2-4 0,-1 0 8 16,3-1-8-16,-3 0-4 0,1 0 4 0,2-2 0 0,-2 1 0 0,0-1 0 16,1-1 4-16,-1 2-4 0,0-2 8 0,-2 0-8 0,2 0 0 0,-1 0-4 15,-2 0 4-15,1 0-4 0,-1 0 12 0,-1 1-12 0,-1 0 0 0,1 0 4 0,-1 0 8 16,-2 0-4-16,1 1 0 0,-2 0-4 0,-1 1-8 0,1-1-12 0,-1 1-8 15,-2 1-4-15,0-2-8 0,0 2-12 0,-2 0-24 0,0-1-20 0,0 1 4 16,-2 1 20-16,0-1 4 0,0 1 12 0</inkml:trace>
  <inkml:trace contextRef="#ctx0" brushRef="#br0" timeOffset="265433.1817">5441 15536 3 0,'0'-2'36'0,"1"2"4"0,0 0-4 0,0 2-4 0,0 0 4 15,1 1 0-15,0 1-4 0,-1 2 0 0,2 0 0 0,-2 0 0 0,2 3 0 0,-1 0 0 16,1 1 0-16,1 1 0 0,-1 1-4 0,1 1-8 0,0 0 0 0,-1 2 0 15,1-1-8-15,-1 3 0 0,1-2 4 0,1 3-8 0,-1 0 0 0,0 0 4 0,0 0 0 16,-1 0-4-16,1 2 4 0,0-2-8 0,0 1 0 0,0-1 4 0,-1 0 4 16,1-1-4-16,-1 1 0 0,-1-3-4 0,2 2 0 0,-1-2-4 0,-1-1 0 15,2-1 0-15,-2-1 12 0,2 0-16 0,-2-2 16 0,0 0-8 0,1 0-8 16,-1-2 4-16,1-1 4 0,-1 0 4 0,1-2-12 0,-2 0 12 0,2-1-12 0,-2-1 0 15,1-1 4-15,0-2 0 0,-1 1 0 0,2-2-12 0,-1 0 0 0,-2 0 0 16,1-2-8-16,-1-1-12 0,1 0-16 0,-1-1-12 0,0 0-20 0,-1-1-20 0,0-1 12 16,1 0 8-16,-1-1 12 0,0 0 8 0,-2-1 4 0</inkml:trace>
  <inkml:trace contextRef="#ctx0" brushRef="#br0" timeOffset="265993.214">5899 15689 15 0,'-11'2'36'16,"0"0"-4"-16,1-1-4 0,0-1-4 0,0 1-4 0,1-1 0 0,-1 2 0 0,1-1-4 15,1 0-4-15,1 0 4 0,-1-1-4 0,3 1 0 0,0-1-4 0,1 0 4 0,1 0-4 16,2-1 8-16,1 0-4 0,0 1 0 0,4-1 0 0,0-1 0 0,1 1 0 16,1 0-4-16,3-2 0 0,0 1 4 0,0 0-4 0,1-1 4 0,2 0 0 15,-1 0 4-15,2-1-8 0,-1 0 0 0,2 0 0 0,-1 0 0 0,0 0 0 16,2 0 0-16,-2 0 0 0,2-1-4 0,-1 0 0 0,0 1 0 0,0 0 0 0,-1-1-4 15,-1 0 4-15,0 1 0 0,1-1 4 0,-2 1-4 0,-2 0 0 0,2 0 0 16,-3 0-4-16,1 1 0 0,-1 0 0 0,-2 0 0 0,0 1 0 0,-1-1-4 0,-1 2 4 16,-1 0-8-16,2 1-4 0,-4 0-12 0,0-1-20 0,-1 2-24 15,-1-1-16-15,0 0 0 0,-3 0 12 0,2 1 8 0,-2 0 8 0</inkml:trace>
  <inkml:trace contextRef="#ctx0" brushRef="#br0" timeOffset="266214.2266">5905 15461 7 0,'1'0'36'0,"1"1"-4"0,0 0 0 15,1 2 4-15,-1 1-4 0,1 1 0 0,0 0 0 0,0 1-4 0,1 1 0 16,0 1-4-16,-1 1 0 0,0 1 0 0,0 1-4 0,1 0 0 0,0 2 0 0,0 0 0 16,1 2 4-16,-1 0-12 0,0 0 0 0,-1 2 0 0,2 0-4 15,-1 1 4-15,0-1-8 0,-1 2 4 0,2-1 0 0,-2 1-4 0,1-1 0 0,-1 0 0 16,0 0 0-16,0-1 0 0,0 0 0 0,0 0 0 0,0-2-4 0,0 0 0 15,0 0 4-15,0-1-4 0,-1-1 0 0,1 0 4 0,0-2-4 0,0-1 4 0,0-1-4 16,0 0 0-16,0-3-8 0,2 1-12 0,-2-4-8 0,0 0-4 0,0-2-16 16,2-1-20-16,-3-1-20 0,2-2 8 0,-1-2 8 0,2 0 8 0,-1-2 8 15</inkml:trace>
  <inkml:trace contextRef="#ctx0" brushRef="#br0" timeOffset="266465.241">6316 15402 27 0,'5'-2'28'0,"1"-1"0"16,-2 3-4-16,0 2 0 0,0 0 0 0,-1 1-4 0,0 2 4 0,0 1-4 0,-1 2 4 15,1 0-4-15,-2 0-4 0,0 2 0 0,2 0 4 0,-3 1-8 0,1 0 0 16,1 1 4-16,0 0-4 0,-1-1-4 0,2 2 4 0,-1 0-4 0,1 0 4 0,0 0-4 16,-1 0-4-16,2-1 4 0,0 0 0 0,0-1 0 0,0 1 0 15,0-1 0-15,1 0-4 0,0-2 4 0,1 1-4 0,0-2 0 0,0-1 0 0,1 0 0 16,-1-2 0-16,2 0 0 0,0-2 0 0,0-1-4 0,0-1 4 0,2-1-4 15,-2 0 0-15,0-1 0 0,1-1 4 0,1-1-4 0,-2 0 0 0,1-1 0 0,-1 0 0 16,2-2 0-16,-1 1 0 0,-2 0 0 0,2-1 0 0,-1 0 0 0,-2 0-4 16,1 0-4-16,0 0 0 0,0-1-4 0,-2 2-8 0,0-2-12 0,-1 1-8 15,-1 0-8-15,0 0-20 0,-1 1-4 0,1-1 4 0,-3 1 4 0,0 0 12 16</inkml:trace>
  <inkml:trace contextRef="#ctx0" brushRef="#br0" timeOffset="266688.2537">6517 15409 11 0,'1'3'36'0,"1"1"0"0,0 3 0 0,-1-1-4 0,0 2 0 16,0 0-8-16,0 2 0 0,-1 0-4 0,0 2 0 0,1 0 0 0,-1 3-4 16,1 0 0-16,-1 0 0 0,1 2-4 0,-1 1 0 0,0 1 4 0,0 0-4 15,0 1 0-15,0 0-4 0,0-1 0 0,0 2 0 0,0-1 0 0,0 0 0 0,-1 0-4 16,1-1 0-16,-1-1 0 0,1 2-4 0,-1-2 4 0,1-2 0 0,0 1-4 15,0-2 0-15,0-1 0 0,-1 2 0 0,2-4 0 0,-1 1 0 0,0-2 0 0,0-1-4 16,0-2 4-16,0 0 0 0,0-2 0 0,0-2-4 0,0-2-4 0,-1 0-8 16,1-2 0-16,-1 0-16 0,0-2-4 0,0 0-16 0,-1-2-24 0,0 0 4 15,-1 0 4-15,1-2 12 0</inkml:trace>
  <inkml:trace contextRef="#ctx0" brushRef="#br0" timeOffset="267091.2768">5040 15659 35 0,'-7'-3'32'0,"1"-1"0"0,-1 2-4 0,1 2 0 0,1 1 0 15,-1 2-4-15,0 0-4 0,0 3 0 0,1 1 0 0,1 2 0 0,-1 2 0 16,0 1 0-16,0 2 0 0,1 1-4 0,-1 2 0 0,2 1 0 0,1 0 4 0,-1 4-8 16,2 1 8-16,0 0 0 0,1 2-8 0,1 0 4 0,-1 1-8 15,2 1-4-15,0 1 8 0,0 0 4 0,1 0-8 0,1 2 4 0,1-1-4 0,1 0-4 16,0-1 4-16,1 1-8 0,-1 0 4 0,2-2 8 0,2-1-12 0,0 0 4 15,2-2-4-15,-2 0 8 0,3-3-4 0,1-1 0 0,-1-1-4 0,3 0 4 0,-1-4-4 16,2 0 4-16,-1-1 4 0,2-2 0 0,0-1-8 0,2-2 0 0,0-2-4 16,0 0 4-16,1-1-4 0,1-3 4 0,-2-1-16 0,3 0-12 0,0-2-16 15,-1 0-32-15,-1-2-20 0,2-1 8 0,0-1 12 0,-1 0 8 0,1-1 4 16,0-1 4-16</inkml:trace>
  <inkml:trace contextRef="#ctx0" brushRef="#br0" timeOffset="267543.3026">7232 15212 15 0,'1'-15'36'0,"0"0"-4"0,-1 1-4 0,3 0-4 15,-1 2 0-15,2 2-4 0,-1-1 4 0,2 2 0 0,0 2 0 0,0 1-4 16,0 0 0-16,1 3 0 0,0 1 0 0,1 2 0 0,-2 0 0 0,1 3-4 0,0 1 0 15,-1 2 0-15,2 1 0 0,-3 1 0 0,1 3 0 0,-1 0 4 0,2 3-4 16,-1 0 0-16,1 3-4 0,-2 0 0 0,0 1 4 0,0 1 4 0,0 2-4 0,0 0 0 16,-2 1-8-16,1 1 4 0,-2 1-8 0,2 0 0 0,-2 1 4 15,-1 1 0-15,0 0 0 0,0-2 0 0,-3 3 0 0,1-2-4 0,1 0 0 0,-2-1-4 16,1 1-4-16,-1-2 8 0,-1-1-4 0,1 0-4 0,0 0 16 0,-1-2-8 15,0 0 0-15,-1-1 0 0,2-2-4 0,0-1-8 0,-1-1 0 0,1-1 12 0,0 0-8 16,0-3-8-16,0 0 12 0,1-1-8 0,-2-2-16 0,3-1-12 0,-1-2-8 16,0-1-16-16,1-2-32 0,-1-1-4 0,1-2 12 0,0 0 8 0,1-2 12 15,-1-2 4-15</inkml:trace>
  <inkml:trace contextRef="#ctx0" brushRef="#br0" timeOffset="267783.3163">7823 15213 3 0,'15'-2'44'15,"-2"1"-4"-15,-2 1-4 0,0 1-4 0,-2 1-4 0,-1 1 0 0,0 2 0 16,-3 1-4-16,0 1 0 0,-1 1-4 0,-3 1 0 0,0 1-4 0,-1 0 4 0,-1 3-4 16,-1 0-4-16,-1 1 0 0,-2-1 0 0,0 1 0 0,-2 2-4 15,0 0 0-15,-1 0 0 0,0 0 0 0,-1 2-4 0,2 0 0 0,-3 2 4 0,1-1 0 16,1-1-4-16,-1 2-4 0,1 1 0 0,-2-2 0 0,1 0 4 0,0 0 0 15,-1 0-4-15,1 0 0 0,-1-2 0 0,2 0 4 0,-2-1-4 0,1 0 0 0,1-1 4 16,-2-1-4-16,2-1 0 0,1 0 0 0,-1-3-4 0,0 0 4 0,2-1-4 16,-1-2-12-16,0-1-8 0,0-1-16 0,1-3-24 0,0-2-16 0,2 0 4 15,-2-4 4-15,2 1 8 0,-1-4 12 0</inkml:trace>
  <inkml:trace contextRef="#ctx0" brushRef="#br0" timeOffset="267950.3259">7686 15431 23 0,'8'-4'44'15,"1"1"0"-15,0 2 0 0,0 1-8 0,0 1 0 0,0 1 0 0,2 1-8 16,-2 1 4-16,-1-1-4 0,2 2-4 0,-1-1 0 0,-2 2 0 0,1-1-4 0,2 0-4 15,-2 0 0-15,1 2 0 0,2-1 0 0,-2-1-4 0,1 2-4 0,0-1-4 16,0-1 4-16,-1 2-4 0,2-2 4 0,-2 0-4 0,1 1 4 0,0-1 0 0,-1 1-4 16,0-3 0-16,0 2-8 0,1 0 0 0,-1 0-4 0,0-2-12 15,1-1-16-15,-1 1-16 0,-1-1-32 0,0 0-4 0,1 0 4 0,-1-2 12 0,-1 0 8 16,0 0 8-16</inkml:trace>
  <inkml:trace contextRef="#ctx0" brushRef="#br0" timeOffset="268217.341">8250 15193 3 0,'6'-7'32'0,"1"0"4"15,1 2-4-15,-1 1-4 0,1 0 0 0,-1 4 0 0,1 0-4 0,0 0-4 16,-2 3 4-16,2-1-8 0,-1 3 4 0,1 0 0 0,-3 0 0 0,2 2-4 0,-1 0 0 16,0 1-4-16,-1 0 4 0,0 1 0 0,-1-1-4 0,2 2-4 0,-1-1 4 15,1 2 0-15,-1 0-4 0,0 1-4 0,0 0 4 0,0-1 0 0,-1 1 0 16,1 1-4-16,-1-1 4 0,-1 1 0 0,0 0 0 0,1-1-4 0,-2 0 8 15,1 0-4-15,-1 0-4 0,0 1 4 0,-1-2 4 0,1 0-8 0,1-1 0 0,-3 1 0 16,1-1 0-16,1-1 0 0,-1 0-4 0,0 0 0 0,0 0 8 0,0-1-8 16,1-1 8-16,-2 0-4 0,2 0 4 0,1-1 0 0,-2-1 0 0,3-1-4 15,-1 0 4-15,0-1-8 0,3-1 8 0,0-1-4 0,-1-1 0 0,2 0-8 0,0-2 4 16,3 1 0-16,-1-3 0 0,0 1-8 0,2-1-4 0,0 0-12 0,0 0-12 15,2-3-12-15,-2 2-28 0,2 0-20 0,-1-1 8 0,0 0 12 0,0-1 8 0,-1 1 8 16,1-1 4-16</inkml:trace>
  <inkml:trace contextRef="#ctx0" brushRef="#br0" timeOffset="268558.3606">9196 15288 31 0,'-12'0'32'0,"2"0"-4"0,1 0-4 15,-1 1 0-15,2-1 0 0,1 0-4 0,1 2-4 0,1-2 0 0,0 1 8 0,2 0-4 16,2-1-4-16,0 1 4 0,2-2-4 0,0 0 0 0,3 0-4 0,1-1 4 16,0 0 0-16,2-1-4 0,1 1 0 0,2-1 0 0,1 0-4 0,0-2 0 15,3 0 0-15,-1 1 0 0,2 0 0 0,-2 0 0 0,4-2-4 0,-1 0 4 16,0 1-4-16,1-1 0 0,0 0 0 0,-1-1-4 0,2 0 0 0,-2 1 4 0,1 1 0 15,-2-2 0-15,1 0-8 0,-1 2 4 0,-1-2 0 0,-2 1 0 0,1 1 0 16,-2-1 0-16,-1 3-4 0,0-2 4 0,-2 1-4 0,-1 0-4 0,-2 2-4 0,-1 0-8 16,1 1-8-16,-4-1-12 0,0 2-20 0,-1 0-16 0,-1 0 4 15,-1 0 4-15,-2 0 12 0</inkml:trace>
  <inkml:trace contextRef="#ctx0" brushRef="#br0" timeOffset="268750.3716">9298 15006 11 0,'5'6'32'0,"-1"3"0"15,2 1-4-15,-2-1 0 0,1 2-4 0,1 3-4 0,-1-2 0 0,1 3 0 16,1 1 0-16,-1 0-4 0,0 1-4 0,0 1 0 0,0 1 0 0,2 0-4 0,-3 0 0 16,2 2 0-16,-1-1-4 0,0 0 4 0,1 1-4 0,-2-1 0 0,1-1-4 15,-1 1 4-15,0-2 0 0,1 1 0 0,-1-2-4 0,0 0 0 0,-1-2 0 16,1 0 0-16,0-1 0 0,0-2-8 0,1 1-12 0,-2-3-32 0,1 1-20 0,-1-3 4 15,1 0 4-15,-1-3 12 0</inkml:trace>
  <inkml:trace contextRef="#ctx0" brushRef="#br0" timeOffset="269596.42">9936 14811 35 0,'-6'-4'40'0,"-1"1"-4"0,1-3 0 16,1 3-8-16,0-1-4 0,-1 1-4 0,0-1 4 0,2 2-4 0,1-1-4 0,-1 0 4 16,2 1-4-16,0-1 0 0,1 2 0 0,1-1-4 0,0 0 0 0,1 1-4 15,2 0 4-15,0-1 0 0,2 1-4 0,2-1 4 0,-1 0 0 0,2 2-4 0,1-2 0 16,2 1 0-16,0-1 0 0,0 0-4 0,3 0 4 0,-2 1-4 15,3-1 0-15,-1 1 4 0,2-1-4 0,-1 1 0 0,2 0 0 0,0 1 0 0,0 0 0 16,0 0 4-16,1 1 0 0,-1 2 0 0,0-1 0 0,2 0 0 0,-3 4 4 16,1-1-8-16,-2 1 0 0,2 2 0 0,-3 0 0 0,1 2 4 0,-1 3 8 0,0-2-12 15,-1 4 4-15,-2 0 12 0,2 1-12 0,-4 2 4 0,1 0-4 0,0 1 8 16,-2 2-8-16,1 0-8 0,-2 1 4 0,0 0 4 0,-1 0 0 0,-1 1 4 15,0 0-4-15,-1 0 0 0,1 0-8 0,-1 0 12 0,-2 0-8 0,1 1 4 0,0-3 0 16,-2 0-4-16,2 0 4 0,-1-1-8 0,0-2 4 0,0 0-4 0,0-1 4 16,0-2 4-16,0 0-4 0,1-2-8 0,-2-1 8 0,2 0 0 0,-1-2 0 0,0-1-12 15,0-1 8-15,0 0 4 0,0-1-4 0,0-2 0 0,1 0 0 0,-1-1 0 16,1-1-4-16,0-1 4 0,0-1-4 0,0-1 4 0,0 0-4 0,0-1-12 15,0-1-4-15,-1-1-16 0,1-1-8 0,0-1-12 0,-1 0-28 0,1-1-20 16,-1-1 8-16,1 0 8 0,-1-2 12 0,1 0 8 0,0-1 8 0</inkml:trace>
  <inkml:trace contextRef="#ctx0" brushRef="#br0" timeOffset="269806.4321">10834 14911 47 0,'14'-10'44'0,"-1"1"-4"16,-2 1 0-16,2 1-4 0,-3 0 0 0,-1 2-4 0,0 1-4 0,0 2 0 0,-2 0-4 15,-1 2 4-15,-1 1-4 0,-1 1 4 0,-1 2 0 0,-1 0-8 0,-1 1 0 16,-1 1 0-16,-2 1 0 0,1 0 0 0,-4 1-8 0,1 0-8 0,0 2 8 15,-1 2 4-15,0-2-12 0,0 3 4 0,-3-2 0 0,1 2-4 0,0 0 0 16,0 1 0-16,-2 0 8 0,0 1 0 0,-1 1-12 0,1-1-4 0,-2 1 0 0,0 0 4 16,0-1 8-16,-1 0-4 0,1 0 0 0,-1 0-8 0,0-1 4 0,1 1 4 0,-2-2-12 15,1-1 12-15,0 0-12 0,1 1 0 0,0-4-16 0,-1 1-8 0,1-2-12 16,1 0-8-16,-1-1-24 0,1-2-16 0,0-1 4 0,0-2 16 0,2 0 8 15,1-2 4-15</inkml:trace>
  <inkml:trace contextRef="#ctx0" brushRef="#br0" timeOffset="269967.4413">10639 15088 23 0,'9'-9'48'0,"0"0"4"0,2 2 0 16,-1 1-8-16,0 0-4 0,1 1 4 0,0 2-8 0,1 0 4 15,0 1 4-15,-1 2-8 0,0 0 0 0,1 0-4 0,-1 2 0 0,0 1-12 0,1-2 0 16,-2 3 4-16,2-1-4 0,-2 1-4 0,1 0 0 0,2 0 0 0,-3 1-8 16,2-1 4-16,-1 0 0 0,0 0-8 0,0-1 4 0,0 1 0 0,-1-1 0 0,0 0-4 15,1 1-4-15,-1-1 0 0,-1-1 4 0,1 0-8 0,-1-1-8 0,0 2-16 16,0-2-16-16,-2 0-16 0,1 0-32 0,-1 0-12 0,1-1 8 0,-3 0 12 15,2 0 8-15,-1-1 8 0,-2 0 8 0</inkml:trace>
  <inkml:trace contextRef="#ctx0" brushRef="#br0" timeOffset="270329.462">11313 14575 63 0,'4'-6'68'0,"0"2"-8"0,-1 0 0 0,0 0-16 15,2 0 0-15,0 2 0 0,0-1-4 0,2 0-12 0,-2 2 12 0,2 0-4 0,0-1-4 16,2 1-4-16,-1 1-4 0,1 1 0 0,-1-1-4 0,2 2 0 0,0 0 0 16,-1 0 0-16,2 1-4 0,-1 0-4 0,-1 1 0 0,1 0 0 0,0 1-4 0,1 1 4 15,1 0-4-15,-2 2-4 0,1-1 4 0,1 1 0 0,-2 0 4 0,1 2 0 16,0 0 0-16,-1 1-4 0,-1 0 0 0,0 1-4 0,-2 1-4 0,0 1 4 15,-2 0 0-15,0 0 0 0,0 2 0 0,-2-2-4 0,-1 3 8 0,-1-1 4 16,0 0 0-16,-2 0 0 0,0 1 0 0,0-2-4 0,-1 2 4 0,0-2-4 0,-3 1 0 16,2-1 4-16,0 0-4 0,-1-2 0 0,0 1 0 0,1-1 0 0,-1-1-4 15,1 0 4-15,-1-1-8 0,0-1 8 0,2-2 0 0,0 2 0 0,0-4-4 0,2 0 0 16,0-1 4-16,0-2-4 0,2-1 0 0,1-2 0 0,2 0 0 15,-1-3-4-15,1-1 0 0,1 0 0 0,1-2 0 0,1 0 0 0,0-3 0 0,1 2-4 16,0-2-4-16,1 0 0 0,0 0-12 0,0 0 0 0,1-1-8 0,-1-1-12 16,0 2-12-16,2-2-16 0,-2 0-12 0,0 1-20 0,1 0-20 0,-1-2 12 0,-1 2 12 15,2 0 8-15,-3 0 12 0,1-1 4 0,0 2 12 0</inkml:trace>
  <inkml:trace contextRef="#ctx0" brushRef="#br0" timeOffset="270444.4686">11984 14713 19 0,'6'0'40'0,"0"0"-8"0,-1 0 0 0,0 0 0 0,0 0-8 16,0 0-4-16,-1 1 0 0,1 0-12 0,-1 0 8 0,0 1 0 0,-2 0-8 0,1-1 0 15,-1 1 0-15,0 0-4 0,-2-1-20 0,1 0-28 0,-1-1-24 0,0 2 4 16,0-2 8-16</inkml:trace>
  <inkml:trace contextRef="#ctx0" brushRef="#br0" timeOffset="273190.6256">1687 14524 23 0,'-11'1'36'0,"-1"0"-4"0,1-1-4 0,0 0-4 0,2 0-4 0,0 0 0 15,0-1-4-15,0-1 0 0,3 2 0 0,0-3 0 0,2 2-4 0,1-2 0 16,0 1 0-16,3-1 0 0,1-1 4 0,2 1 0 0,2 0 0 0,2-1-4 15,3 0 0-15,2 0 4 0,2 1 0 0,3-1 0 0,1-1-4 0,4 2 0 0,2-2 4 16,3 1 0-16,2 0-4 0,3 0 8 0,2-1-8 0,2 0 4 0,2 0-4 16,2 0-4-16,1-1 8 0,2 0 4 0,2 0-8 0,-1 1 4 0,2-1 0 0,0-1 8 15,1 2-8-15,-1 0-4 0,2-2 16 0,-2 2-8 0,0 0 0 16,0 0-8-16,0 0 12 0,-1 0-4 0,-1 1 0 0,0-1 0 0,-2 2 0 0,0-1-4 15,-3 0 0-15,0 1 0 0,-3 0-4 0,-1 0 4 0,-3 0-4 0,-3 1 0 16,-2-1 0-16,-1 1 0 0,-3 1-4 0,-2 0 0 0,-1 1 0 0,-2-3 0 0,0 3 0 16,-4 0 0-16,-1 0-4 0,1-1 0 0,-3 2 4 0,0-1-4 0,-3 0 4 15,0 0-4-15,-2 0 0 0,1 1 0 0,-3-1 0 0,-1 2-4 0,0-2 0 16,-2 0 0-16,-1 1 0 0,0-1-4 0,-1 1 0 0,-2-1-4 0,0 0-12 0,-1 0-8 15,-2 0-16-15,0-1-8 0,0 0-8 0,-1 1-8 0,-2-3-20 0,1 2-20 16,-1-1-4-16,-1 0 8 0,-1 0 12 0,0-1 12 0,0 0 8 0,-1 1 4 0,0-1 8 16</inkml:trace>
  <inkml:trace contextRef="#ctx0" brushRef="#br0" timeOffset="273480.642">2327 13437 35 0,'0'-10'40'15,"0"1"-4"-15,0 1-4 0,1 0-4 0,-1 1-4 0,0-1 0 0,1 1-4 16,-1 4 0-16,1-2 0 0,-1 1-4 0,0 2-4 0,0 1 0 0,0 1 0 0,-1 1-4 15,0 2 4-15,0 1 0 0,0 1-4 0,-1 1 0 0,0 2-4 0,-1 0 4 16,1 1 0-16,2 2 0 0,-2 1-4 0,1 1-4 0,1 0 4 0,0 2 0 0,-1-1-4 16,1 2 4-16,0 0 0 0,0 0-4 0,1 1 0 0,0 0 0 0,0 1 0 15,0-1 0-15,0 1 0 0,1 0-4 0,0-2 4 0,1 1-4 0,-1-1 4 16,2-2 0-16,-1 1-4 0,1-3 0 0,1 1-8 0,0-3-4 0,1 0-28 15,-1-2-32-15,0-2 0 0,1 0 8 0,0-2 8 0,0-2 8 0</inkml:trace>
  <inkml:trace contextRef="#ctx0" brushRef="#br0" timeOffset="273958.6696">2637 13512 15 0,'5'-4'28'0,"0"1"-8"0,0 1 4 0,0 0-4 0,0 1 0 0,0-1 0 16,-1 2 0-16,1 0 0 0,-1 2-4 0,1-1 0 0,0 1 0 0,0 0 0 15,0 1-4-15,-1 0 0 0,1 1 0 0,-1 0 4 0,1 0 0 0,2 0-4 16,-3 2 0-16,2-1 0 0,0 0 0 0,1 2-4 0,0-2 0 0,0 3 4 0,0-2-4 15,0 0 0-15,2 2 0 0,-1-1 0 0,0 0 0 0,-1 1 0 0,3 0 0 16,-2 0-4-16,1-1 4 0,-1 0 0 0,1 1 0 0,-1-1 0 0,0-1 0 0,1 1 0 16,-2 0 0-16,1 0 0 0,-1-1 0 0,2 0 0 0,-2 0-4 0,-1-1 4 15,1 1 0-15,-1-2 4 0,0 2 4 0,0-2-4 0,0 1 0 0,-2-1 4 16,1 1 0-16,-2-1-4 0,2 0 0 0,-3 1 0 0,0-1-4 0,0 0 4 15,-1 1-12-15,-1-1 12 0,0 0-8 0,-2 0-8 0,1 0 0 0,-2 0 8 0,0 1 4 16,-1 0-8-16,0 0 4 0,-1-2 4 0,0 1-8 0,0 1 0 0,-1-1 4 16,-2 0-8-16,2 0 4 0,-1-1-4 0,-1 1 0 0,0-1 12 0,0 0-4 0,-1 1-12 15,-1-3 12-15,1 2 0 0,-1-2 0 0,-1 0 0 0,1 0-4 16,-1-1 4-16,0-1-8 0,0 0-4 0,0-1 4 0,0-1-4 0,0-1 4 0,1-1 0 15,-1 0 4-15,0-1-12 0,1-1 8 0,-1-1-4 0,1-1-12 0,1-1 0 16,-1-1 4-16,2-2 0 0,0 1 4 0,1-2 4 0,-1 1 0 0,2-3 0 0,1 1 0 16,0-1 0-16,1 0 0 0,1-1 4 0,1 0 0 0,-1-2 8 0,3 2-4 15,0-1 0-15,3 0 4 0,-1-2 0 0,2 2 0 0,0 0 0 0,1-1 0 16,0 1 0-16,3 0 0 0,0-1 4 0,0 1-4 0,1 1 4 0,2 1 0 15,-1-1 4-15,1 2 0 0,1 0-4 0,0 2 4 0,-1-1-8 0,1 1-4 0,1 1 4 16,0 0 0-16,0 2 4 0,-1-1 4 0,2 1 0 0,-1 1 4 0,0 0-8 16,0 1 4-16,0 0-4 0,0 1 0 0,-1 0-4 0,1 1 0 0,-1 1 4 0,0-1-12 15,0 1 4-15,-2 1 4 0,2-1 0 0,-2 3-4 0,0-1 0 0,1 0 0 16,-2 2 0-16,-1-2-4 0,1 2 0 0,-1 1-8 0,0 0 0 0,-2 1-20 15,2 1-12-15,-2 0-16 0,-1 1-36 0,0 1-8 0,-1-1 8 0,0 1 12 0,0 1 12 16,0 1 4-16,-1-1 8 0</inkml:trace>
  <inkml:trace contextRef="#ctx0" brushRef="#br0" timeOffset="274640.7086">4926 13945 15 0,'-4'0'36'0,"2"-1"-4"0,0 1 0 0,1-1-8 0,2-1 0 0,1 1 0 15,2-1-4-15,1 1 0 0,2 0-4 0,3-2 0 0,2 0 0 0,2 0-4 16,0 1 0-16,5-2-4 0,-1 1 0 0,4 0 4 0,2-1-4 0,1 1 0 15,2-2 0-15,2 0 0 0,2 2 0 0,2-2-4 0,3 1 0 0,1-2 4 0,2 2 0 16,2-1 0-16,2 0-4 0,1 0 4 0,3-1 0 0,-1-1 0 0,1 3-4 16,0-3 4-16,1 2-4 0,-2-1 0 0,2 0 4 0,-3 1 0 0,2-1 0 15,-3 1 0-15,0-1-4 0,-2 1 4 0,-2 0 0 0,1 0 0 0,-3 1 0 16,-1 0-4-16,-2 0 4 0,0 1 0 0,-2-1 4 0,-2 1 0 0,0 1-8 0,-4-1 8 15,-1 1-8-15,-2 0 0 0,-1 0 4 0,-3 0 0 0,-1 2-4 0,-2-2 4 16,-2 2-4-16,-1-1 0 0,-2 0 0 0,-1 1 4 0,-1-1 0 0,-2 1-8 0,-1 0 0 16,-2 0 8-16,0 0 0 0,0 0 0 0,-3 0-8 0,0 0-4 0,-2 0 4 15,0 0 0-15,0 0-4 0,-2-1-8 0,0 1-12 0,-3-1-16 0,1 1-20 16,-1-2-28-16,0 1-8 0,-2-1 8 0,-1 0 12 0,1-2 8 0,-1 3 8 15</inkml:trace>
  <inkml:trace contextRef="#ctx0" brushRef="#br0" timeOffset="275211.7412">5895 12933 27 0,'13'-8'32'16,"1"0"4"-16,1 2-4 0,-2 0-8 0,1 2 4 0,-2 0-4 0,1 2 0 0,-1-1 0 15,-2 1-4-15,2 2 0 0,-2-1-4 0,-1 1 0 0,1 1 4 0,-2 0-4 16,0 1 0-16,1 0 0 0,-1 1-4 0,-1 1 0 0,1-1 0 0,-2 3 0 0,2-1-4 16,-3 1 0-16,1 1 4 0,-2-1-4 0,0 1 4 0,0 1-8 0,0 0 4 15,-2 1-4-15,1 0 4 0,-1 0 0 0,-2 1-4 0,1 0 0 0,0-1 8 16,-1 0 0-16,0 1-4 0,-1-1 0 0,1 0 0 0,-1 0 0 0,1 0-4 15,-1 0 0-15,-1-1 0 0,1 1 0 0,0-1 0 0,1-1 4 0,0 1-8 0,-1-1 0 16,2 0 12-16,-1-1-8 0,1 1-4 0,1-2 12 0,0 0-8 0,2-1 4 16,-1-1-4-16,2 0 4 0,1 0 0 0,0-2 0 0,2 0 4 0,-1 0-4 0,2-1-8 15,1-1 4-15,1 0-4 0,-1 1 4 0,2-1-8 0,0-1 0 16,1 1 4-16,0-2-4 0,-1 3 8 0,3-2-4 0,-2 1 0 0,1-1-4 0,0 0 0 15,0 0-4-15,-1 1-16 0,0-1-12 0,0 0-12 0,-1 1-32 0,0-1-20 16,-1 0 4-16,-2 1 12 0,1 0 12 0,-1 0 4 0,-1 0 12 0</inkml:trace>
  <inkml:trace contextRef="#ctx0" brushRef="#br0" timeOffset="276984.8424">5519 12877 19 0,'-4'-4'32'15,"0"1"-4"-15,1 0-4 0,0 0 0 0,0 0 0 0,0 0-4 0,1 0-4 0,-1 1 0 16,0-1 0-16,0 1-4 0,1 0 0 0,0 0 0 0,0-1 0 0,2 2-8 16,-2 0 4-16,0 0 0 0,2 0 0 0,-1 1-4 0,1 0 4 0,0 0 0 0,0 1 4 15,1 0-4-15,-1 1 0 0,2 0 4 0,0 1 0 0,-1-1 0 0,1 1-4 16,0 2 8-16,1 0-4 0,-1-1 0 0,2 2 4 0,-1 0-4 0,-1 0 0 0,2 1 0 15,-1 1 4-15,1 1 0 0,-1-1-4 0,1 2 0 0,2-1 0 16,-2 3 0-16,1-2 4 0,-1 1-4 0,1 1 0 0,0 2-12 0,-1-2 12 0,3 2 0 16,-2 1 0-16,0-1-8 0,1 0 0 0,-1 2 4 0,0-1 0 0,1 0 0 15,-1 0-4-15,0 1-4 0,0 0 0 0,1-1-4 0,0-1 12 0,-1 2 0 0,-1-2-8 16,1 1-4-16,0-1 4 0,-1-1 8 0,1 1 0 0,-1-2-8 15,0 1 4-15,0-3-4 0,-1 3 0 0,1-3-4 0,-1 0 4 0,0 0 0 0,0-1-4 16,-1-1 0-16,2 0 4 0,-2-1 4 0,0-2-8 0,-1 2 8 0,1-3 0 16,0 1 0-16,-2-1 0 0,1-1-8 0,0 1 0 0,0-1 0 0,0-2 4 0,-1 1 4 15,0-1-8-15,1 1 8 0,-1-1-12 0,0-1 0 0,0 0 0 0,-1 0-16 16,1-1-12-16,0 0-20 0,-1-1-28 0,0-1-16 0,0 0 8 0,0 1 12 0,1-1 4 15,-2 0 12-15</inkml:trace>
  <inkml:trace contextRef="#ctx0" brushRef="#br0" timeOffset="278033.9026">8703 13502 31 0,'23'-4'28'0,"2"-1"0"0,3-1-4 16,1 1 0-16,2-1-4 0,4-1 0 0,1 0-4 0,5 1 0 0,0 0 0 15,4-3-4-15,2 2 0 0,3 0 0 0,-1-2-4 0,4 1 4 0,1-1-4 16,2 1 0-16,-1-2 4 0,2 0-4 0,1-1 0 0,1 2 0 0,1-2 0 0,0 1-4 15,0-1-4-15,1 0 4 0,0 1 0 0,0 0 0 0,-1-1 0 0,0 1 0 16,-1 0 4-16,-2 1-8 0,1-1 4 0,-2 2 0 0,-1-1 0 0,-4 0 0 16,0 1-4-16,-3 0 4 0,-4 1 0 0,-1-1 0 0,-4 0 0 0,-2 2-4 0,-1-1 0 15,-3 0 4-15,-2 2 0 0,-1 0-4 0,-3 0 4 0,-2 0 0 0,-2 3 0 16,-3-1-4-16,-1 1 4 0,-3 0 0 0,-4 1 0 0,-1 1-4 0,-1 0 4 0,-3 0 0 15,-2 1-4-15,-2 0 0 0,-2 0-4 0,0 0 4 0,-2 0-8 0,-2 1 0 16,0-1-12-16,-2 0-12 0,-2 0-32 0,-1-1-16 0,0 1 4 0,-2-1 12 16,-2 0 4-16</inkml:trace>
  <inkml:trace contextRef="#ctx0" brushRef="#br0" timeOffset="278412.9243">9232 12330 19 0,'1'11'24'0,"-1"-1"-4"0,1 3-4 0,-1 0-4 0,0 1 4 15,-1 2 0-15,1-1-4 0,0 2 0 0,0 1-4 0,0 1 0 0,0 1 4 0,0 0-4 16,0 1 0-16,0 1 0 0,0-1-8 0,0 2 8 0,1-1-8 0,1 0 0 15,-1 0 4-15,0-2 0 0,1 1-4 0,0-1 0 0,0-2 4 0,1 0-4 16,-1-1-4-16,2-3-16 0,0 0-20 0,0-3-20 0,-1 0 0 0</inkml:trace>
  <inkml:trace contextRef="#ctx0" brushRef="#br0" timeOffset="278967.9561">9766 12284 7 0,'6'1'16'0,"0"0"4"0,-1 2 0 0,0-1 4 16,-1 3 0-16,0-1-4 0,0 0 0 0,0 3 0 0,1-2-4 0,-1 2 4 0,0 2-4 16,1-1 0-16,0 2-4 0,1 0 4 0,2 2-4 0,-1 0 0 0,1 0 0 15,0 1 0-15,2 0 0 0,-1 2-4 0,0-1 0 0,2 1-4 0,-2 1 4 0,1-1 0 16,2 0-4-16,-1 1 4 0,-1 0 0 0,2-1 4 0,-1 0-4 0,0 0-4 15,1 0 4-15,-1-1-4 0,1 0 4 0,-1 0-4 0,0-2 0 0,0 1 4 16,0-2-4-16,-1 0 0 0,1 0 4 0,-2-1-4 0,0-2 0 0,0 0 4 16,-1 0-4-16,0-2 0 0,-1 2 4 0,0-2-4 0,0-2 4 0,-2 2 0 0,0-1-4 15,-1 0 4-15,-1-1 0 0,0 1 0 0,0-1 0 0,-2-1 0 0,0 3-4 16,-2-3 4-16,0 1-8 0,-1 0 0 0,-1-1 0 0,0 0 4 0,-1 1 0 0,-1-2-4 15,-1 2 0-15,-1-2 0 0,0 2 0 0,0-3 0 0,-2 2 4 16,0-1-8-16,-1 0 4 0,0 0 0 0,-1-1 0 0,-1 1 0 0,-1-2 4 0,-1 1-4 16,1-1-4-16,-2-1 8 0,1 1-8 0,-2-2 4 0,1-1 0 0,-2 1-4 15,1-3 4-15,-1 1 0 0,0-1-4 0,-1-1 0 0,1-2 4 0,-1 1 0 0,-1-3 0 16,2 1 0-16,0-1 0 0,0-3-4 0,-1 1 4 0,3-1-4 0,-2-1 0 15,2-1 0-15,0-1 0 0,1 0 4 0,0-1 0 0,2-1-4 0,0 0 4 16,1 0 0-16,1-2-4 0,1 1 4 0,2 0 4 0,1 0-4 0,1-1 0 16,1 0 0-16,2 0 4 0,1 0 0 0,1 1-4 0,3 0 4 0,0-1-4 0,2 2 0 15,2-1 0-15,2 2 4 0,0-1 0 0,1 1 0 0,2 1 0 0,1 0 4 16,0 1-8-16,3 1 4 0,-1 1 4 0,2 0-4 0,1 2 4 0,-1-1 4 0,2 1-4 15,-1 2-8-15,2-1 12 0,0 1-4 0,-1 1-4 0,2 0 0 0,0 1-4 16,-1 0 12-16,1 1-16 0,0 0 4 0,-1 1 8 0,0 0-8 0,-1 1 4 16,1 0-4-16,-1 0 4 0,-1 0 0 0,1 2 8 0,-1-1-8 0,-1 0-4 0,-1 0 0 15,-1 2 8-15,1-1-4 0,-2 0-4 0,0 0 4 0,-2 2-8 0,0-2 8 16,0 2-4-16,-1 0 8 0,-2 0-4 0,1-2-8 0,-2 1 4 0,-1 2 4 0,0-1-4 15,0 2-8-15,-3-2 0 0,1 2 4 0,-2 0-12 0,-2 1-16 16,0-1-12-16,-1 2-24 0,-1-1-32 0,0 0 4 0,-2 1 8 0,-1 0 12 0,-1 1 8 16,-1-2 4-16</inkml:trace>
  <inkml:trace contextRef="#ctx0" brushRef="#br0" timeOffset="280248.0293">11582 12905 31 0,'13'2'32'0,"2"-1"0"0,2 0-8 0,1 0 0 0,4 0 0 0,1 0 0 15,2 1-4-15,2-1 0 0,2 1-4 0,3 0 0 0,4 0-4 0,0 0 0 0,3 0 0 16,1 1-4-16,3-1 0 0,0 1 0 0,2 0-4 0,1 0 4 0,1 1-4 15,0-1 4-15,1 1 0 0,0 0 0 0,1-1 0 0,-1 1 0 0,2-1 0 16,-1 0 0-16,0 1-4 0,0-1 4 0,-1 1 0 0,1-2-4 0,-2 3 0 16,2-2 4-16,-2 0 0 0,-3 0 0 0,1 0 0 0,-2 0 0 0,-2 0-4 0,-2 0 4 15,-1-1 0-15,-4 2 0 0,0-2 4 0,-3 0 0 0,-1-1 0 0,-1 2-4 16,-3-1 4-16,-2-1-4 0,0 0-4 0,-3 0 12 0,0 0-12 0,-3 1 12 0,-1-2-8 15,-1 1 0-15,-1 0 8 0,-4-1-12 0,1 2 4 0,-2-2 0 16,-2 0 0-16,-1 1 0 0,-2-1 0 0,0 0-8 0,-1 1 0 0,-3-1 8 0,0 0-12 16,0 0 12-16,-2 0-8 0,0 0 0 0,-2 0-4 0,0 0-12 0,-1 0-8 15,-1 0-16-15,-1-1-16 0,0 0-28 0,0-1-12 0,-3 1 8 0,2 0 8 0,-2-2 8 16,1 1 8-16,-3-1 8 0</inkml:trace>
  <inkml:trace contextRef="#ctx0" brushRef="#br0" timeOffset="280593.049">12213 12046 7 0,'-2'-5'40'0,"-1"0"-4"0,1 1-4 15,0 2-4-15,0 0-4 0,1 0-4 0,1 2-4 0,0 0 0 0,-1 3 0 16,1 0-4-16,-1 1 0 0,1 0 0 0,0 2-4 0,0 1 0 0,-1 1 0 0,1 1-4 16,-1 1 4-16,1 1-4 0,-1 2 0 0,0 0-4 0,1 2 4 0,0 1-4 15,0 2 0-15,0 0 4 0,1 1 0 0,0 1-4 0,-1 0 0 0,1 2 0 0,1-1 0 16,-1 0 0-16,0 1 0 0,2 0 0 0,-2-1 0 0,3 1 0 0,-3-2 0 15,2 1 0-15,0-2 4 0,0-1-8 0,1 0-4 0,-1-1-16 0,1-2-20 16,-1-2-24-16,2-1 4 0,0 0 4 0,-1-2 8 0</inkml:trace>
  <inkml:trace contextRef="#ctx0" brushRef="#br0" timeOffset="281091.0775">12726 11976 3 0,'13'-5'28'0,"-3"1"0"0,2 2 0 0,0 1-4 0,0-1-4 15,-1 4 0-15,1-2 0 0,-1 2-4 0,0 1 0 0,0 0 0 16,0 1-4-16,-1 2 4 0,0-2-8 0,-1 1 4 0,1 1-4 0,-1 1 4 0,-1-1-4 16,2 1 4-16,-1 1-8 0,0 1 4 0,-1 0 0 0,1 1-4 0,-1 1 0 15,0-2 0-15,1 3-4 0,-3-1 4 0,0 1 0 0,0 0 4 0,-2 0-8 0,0 0 0 16,-1 0 0-16,1 1 4 0,-3 0 0 0,-1-2 0 0,0 1 0 0,0 1 0 15,-2-1-4-15,-2 0 0 0,1 0 0 0,0-1 0 0,-2 1 4 0,0-2-12 16,-1 0 12-16,1 0-4 0,-3-1 4 0,1-1 0 0,-1 0 0 0,1-1 0 16,-2-2 0-16,1 1 4 0,-1-1-4 0,0-2 0 0,1-1 0 0,-1-1 0 0,1-1 0 15,-1-1 0-15,1-1 0 0,1-2 0 0,-1 0 0 0,1-2 0 0,0 0-4 16,2-2 0-16,0 0 0 0,0-2 4 0,1 0-4 0,-1-1 0 0,3 0 0 0,0-2 8 15,1 1-8-15,0-2 0 0,1 1 0 0,1-1 0 0,0-1 4 16,1 1 0-16,0 0 0 0,3-2 0 0,-1 1 4 0,1 0-4 0,0 0 4 0,0-1-4 16,2 2 8-16,0-2-4 0,1 1 0 0,0 1 0 0,0-1 4 0,1 0-8 15,1 1 4-15,-1-1 8 0,2 1-12 0,-1 0 12 0,0 0-12 0,1 1 4 0,-1-1-4 16,1-1 4-16,1 2 8 0,-2-2-8 0,0 0-8 0,2 2 4 0,-3-2 4 15,1 1-4-15,1 0 4 0,-2 0 0 0,-1 1 4 0,2-1 0 0,-3 1 4 16,-1 0-8-16,1 2 0 0,-2-1 0 0,1 0-8 0,-2 0 12 0,-2 2-4 0,0 1 0 16,0 0-4-16,-2 0 0 0,-2 2 0 0,0 0 4 0,-2 1-8 0,0 1 0 15,-3 2 0-15,1-1 4 0,-1 3-4 0,-2 0 4 0,-2 1 4 0,-1 2-12 0,0 0 4 16,-1 1 0-16,-1 1 0 0,-1 2 4 0,0-1-4 0,-1 1 4 15,1 2-4-15,-3-1-4 0,3 1 4 0,-2 0-4 0,1 1 0 0,0-1-4 0,0 2 8 16,2-1 4-16,0 2-8 0,0-2 0 0,0 2-4 0,2-1-12 0,1 0-4 16,-1 0-16-16,2 0-12 0,1-1-20 0,1 0-28 0,-1-1 0 0,4 0 12 0,0-1 8 15,0 0 8-15,2-1 8 0,0-1 8 0</inkml:trace>
  <inkml:trace contextRef="#ctx0" brushRef="#br0" timeOffset="282141.1376">5841 15806 7 0,'1'-1'24'0,"1"0"-8"0,2-1 4 16,0 1-4-16,3-1 0 0,1-1 4 0,2 1-8 0,1-1 8 0,3-1-4 0,0 1 0 16,2 0 0-16,2-2-4 0,2 1 0 0,2-2 0 0,1 2 0 0,2-1 0 15,3-1 0-15,0 0 0 0,4-1 0 0,2 2-4 0,3-2 4 0,4-1-8 0,1 1 4 16,4 0-4-16,1-1 4 0,2 0-4 0,2-1 4 0,3 2-4 0,0-3 4 15,2 2-4-15,1-2 0 0,-1 0 0 0,3 1 0 0,0-1-4 0,1 0 4 16,1 0 0-16,1-1 0 0,1 2 0 0,-2-1 4 0,2-1-4 0,-1 1 0 0,0-1 0 16,-1 1 0-16,0-1 0 0,-1 1 4 0,-1 0-4 0,-2 0 0 0,-1 0 4 15,-3 0-4-15,-2 2 0 0,-2-2 4 0,-3 0 0 0,-2 2 0 0,-2-2 0 16,-2 3 0-16,-1 0-4 0,-3 0 0 0,-3 0 0 0,0 1 0 0,-3 1 0 0,-2 0 4 15,-1-1-4-15,-5 2 4 0,0 0-4 0,-3 1 0 0,-3 0 4 0,0 1-4 16,-3 0 4-16,0 0-4 0,-3 1 0 0,-2 0 0 0,-2 1 0 0,1-1 0 16,-2 1 0-16,-2 0 0 0,0 0 4 0,-3 0-4 0,1 1-4 0,-2-1 0 0,1 1 0 15,-3-1 8-15,1 0-4 0,-2 1 0 0,-1-1-8 0,0 0 0 0,1 0-4 16,-2 0 0-16,0 0-8 0,-1-1-12 0,-1 1-12 0,1-2-20 0,-1 1-24 15,-2-2-4-15,1 1 8 0,0-1 8 0,-1 1 12 0,-1-1 4 0</inkml:trace>
  <inkml:trace contextRef="#ctx0" brushRef="#br0" timeOffset="282709.1701">7266 14534 3 0,'0'7'16'0,"1"0"4"0,-1 2-4 0,1 0 0 16,-1 1 4-16,1 1 0 0,-1 0-8 0,1 0 0 0,-1 2 0 0,1 1 0 15,-1-2 0-15,0 3-4 0,0-1-4 0,0 2 4 0,0-1 0 0,1 0 0 0,-1 1-4 16,0-1 4-16,0 0 0 0,0 0-4 0,0-1-4 0,1 2 0 0,-1-3 4 15,1-1-4-15,0 1 4 0,-1-2-4 0,0 0 4 0,2-1 0 0,-1-1 0 16,2-1-8-16,-2-1 8 0,1-2-8 0,0 1-8 0,1-4-20 0,-2 1-28 16,2-1-4-16,-1-3 8 0</inkml:trace>
  <inkml:trace contextRef="#ctx0" brushRef="#br0" timeOffset="283074.1909">7636 14534 11 0,'5'6'28'0,"-2"2"4"0,0 0-4 0,1 1 0 16,-2 1-4-16,0 1 0 0,-2 0 0 0,1 1-8 0,1 0 0 0,0 3 0 0,-1-1 0 16,1 2-4-16,0 0 0 0,1 0 0 0,0 1-4 0,-1 1 0 0,2 0 4 15,0-1-4-15,-1 1 0 0,1-2 0 0,0 0 0 0,0 0 0 0,0 0-4 0,1-2 4 16,-1-1 0-16,2-1 0 0,0 0 0 0,-1-1 0 0,2-2 0 15,-1-1 0-15,2-1-4 0,-1-4 0 0,1 1 0 0,1-3 4 0,0-2-4 0,0-1-4 16,0-1 8-16,1-2-8 0,-1-2 4 0,1 0-4 0,0-3 4 0,0-1 0 16,-1 1 0-16,1-1 0 0,-1-1 0 0,0-1 0 0,-1 0 0 0,1 0 0 0,-2 0 0 15,1-2-4-15,-2 3 4 0,2-1 0 0,-2 1 4 0,-1-2-4 0,-1 3 4 16,0 0 0-16,-2 0 0 0,0 1 0 0,-1 0 0 0,-2 2-8 0,-1 2 4 15,-1-1 0-15,-1 3 0 0,-1 0 4 0,-2 1-8 0,-1 2 4 0,-1 0-4 16,-1 1 4-16,-2 1-4 0,1 1 0 0,-1 0-4 0,-2 1 8 0,0 1-4 0,-1 0 0 16,1 1 0-16,-2 0 4 0,1 2-4 0,0-2 4 0,-1 2 0 0,0 0-4 15,2-1-4-15,-1 2 0 0,1-1 0 0,0 0 0 0,0 0 0 0,2 1 0 0,0 0 0 16,1-1-4-16,2 0-4 0,0 0-20 0,1-1-16 0,3 0-32 15,0-1-12-15,2 0 12 0,0-1 4 0,3-1 12 0,3 0 8 0</inkml:trace>
  <inkml:trace contextRef="#ctx0" brushRef="#br0" timeOffset="283871.2365">10260 14998 19 0,'-3'-2'20'0,"0"0"4"0,2-1 0 0,1 0-4 0,1-1 0 15,3 1 0-15,1-1 0 0,2 1-4 0,2-1 0 0,3-1 0 0,2 2-4 16,2-2 4-16,2 0-4 0,3 1 0 0,1-1 0 0,3-1 0 0,2 1 0 0,3-1 0 16,1 1 0-16,2-1 0 0,2 0 0 0,2 1-4 0,4-2 0 0,0-1 0 15,3 1 0-15,3-1 0 0,0-1 0 0,3 1 0 0,1-1-4 0,1 0 0 0,1 1 4 16,0-1-4-16,2 0 4 0,-3 0-4 0,2 0 0 0,-1 0 0 0,-3 0-4 15,1 1 0-15,-2-2 4 0,-2 2 0 0,0 0 0 0,-2-1 0 0,-1 2 0 16,-3-1 0-16,-1 1 4 0,0 0-4 0,-3 0 0 0,-2 1 0 0,-1 0 4 0,-3 0-4 16,-1 1 4-16,-2 0 0 0,-3 0-4 0,-4 1 4 0,0 1-4 0,-3 0 0 15,-3 0 4-15,-1 1-4 0,-3 0 0 0,-1 0 4 0,-1 1-4 0,-2 0 0 16,-2 1-4-16,0-1 0 0,-3 1 0 0,0 0-4 0,-2 0 4 0,0 1-4 15,-3-1-4-15,1 0-8 0,-2 0-12 0,-1 0-4 0,-1 0-20 0,-2 0-24 0,0 0-8 16,-1 0 8-16,-2 0 4 0,1 0 12 0,-1-1 4 0</inkml:trace>
  <inkml:trace contextRef="#ctx0" brushRef="#br0" timeOffset="284172.2537">10577 14241 11 0,'-5'7'4'0,"2"4"12"16,1-1-8-16,-2 1 0 0,2 0 0 0,-1 3 0 0,0-1-8 0,1 1 8 15,0 0 0-15,1 1-4 0,0 1 0 0,1 1 0 0,0 0 0 0,0 1 0 0,0 0-4 16,1-1 4-16,0 1-4 0,1 0 0 0,-2-2 0 0,2 4-4 0,1-5 4 15,-2 0 0-15,2 1-8 0,-1-4-12 0,1 1-24 0</inkml:trace>
  <inkml:trace contextRef="#ctx0" brushRef="#br0" timeOffset="284472.2709">10938 14106 15 0,'1'8'20'0,"-1"-1"0"0,1 2 0 0,-1 0 0 16,0 0-4-16,0 1 0 0,0 0-4 0,0-1 0 0,1 1 0 0,0 0 0 0,3 0-4 16,-2 1 0-16,2-2 0 0,-1 1 0 0,1 0 0 0,0-1 0 0,0 0-4 15,1 0 4-15,2 0 0 0,-2-2-4 0,1 1 0 0,1-1 4 0,0 0-4 0,1-1 0 16,0-1 4-16,0-1-4 0,0 1 0 0,2-3 0 0,0 0 0 15,0-1 0-15,1 0 0 0,-1-1 0 0,3-1 0 0,-2 0-4 0,1-2 0 0,0 0 4 16,1-1 0-16,-2 0 0 0,2 0-4 0,0-1 0 0,0-1 4 0,-2 1-4 0,3-2 4 16,-3 2-4-16,0-2 0 0,0 1 0 0,-1 0 0 0,0 0 0 0,0 0 0 15,-1 0 0-15,-2 0 0 0,1 0 0 0,-1 1-4 0,-1 1 4 0,0-2 0 0,-3 1 0 16,1 2-8-16,-2-1-8 0,0 0-24 0,-2 1-24 0,-1-1-4 15,-1 1 8-15,0 1 8 0</inkml:trace>
  <inkml:trace contextRef="#ctx0" brushRef="#br0" timeOffset="284732.2858">11054 14058 23 0,'3'7'36'0,"0"3"0"0,0-1-4 0,-1 2 0 15,2 1-4-15,-1 0 0 0,0 2-4 0,0-1-4 0,0 2 4 0,-1 1-4 0,2-1 0 16,-2 2-4-16,0-1 0 0,1 1 0 0,-1 0-4 0,0 0 0 0,1 0-4 16,0 0 4-16,-1 0-4 0,0 0-4 0,1-1 4 0,-2 0-4 0,2-1 0 0,-2 0 0 15,2-1-4-15,-2 0 4 0,1 0 0 0,0-2 0 0,0-1 0 0,2 0-4 16,-2 0 4-16,0-2 0 0,0 0 0 0,1-2-4 0,-1 0 0 0,0-1 0 15,2-1 0-15,-2-2 0 0,1-1-4 0,-1 1-8 0,1-2-8 0,-1-1-20 16,1 0-28-16,-2-2-12 0,1 0 4 0,0 0 12 0,-2-1 8 0,2-1 4 0</inkml:trace>
  <inkml:trace contextRef="#ctx0" brushRef="#br0" timeOffset="299995.1586">12435 14331 115 0,'4'17'104'0,"-2"1"-8"0,0-1-8 0,-1 1-8 16,0-3-12-16,-2 2-8 0,1-2-8 0,-2-1-4 0,0-1-4 0,1-1-8 16,-2-1-4-16,-1 0 0 0,0-2-8 0,-2-1 0 0,1-1 0 0,0 0-8 0,-1-2 0 15,0 1-4-15,0-2 0 0,-1-1-12 0,1 0-16 0,0-1-28 0,0 0-24 16,0-1-48-16,1 1-12 0,3-1 8 0,0 0 16 0,0 1 4 0,1-1 12 0,1-1 12 15,-1 2 8-15</inkml:trace>
  <inkml:trace contextRef="#ctx0" brushRef="#br0" timeOffset="301174.2262">10268 16157 19 0,'-5'15'28'0,"2"0"0"15,1 0 0-15,2-1-4 0,0 0 0 0,0-1 0 0,3 0 0 0,-1-1-4 16,3-1 0-16,0 0 0 0,2-2 4 0,1-1 0 0,3 1-4 0,0-3 0 0,2 1 4 15,3-2 0-15,1-1 4 0,1-2-4 0,2-1-4 0,-1-2 0 0,4-2 4 16,1-2-4-16,2-2-4 0,-1-2 0 0,3-3 0 0,1-4-12 0,2-2 12 0,1-2-8 16,1-4 0-16,3-1-4 0,0-4 0 0,3-1 0 0,1-3-8 0,3 0 12 15,0-3-4-15,3 1-4 0,-1-2 4 0,2-2 0 0,0 1 4 0,1-1 0 16,-2 0-4-16,2 1 0 0,-3 0-4 0,1 0 8 0,-2 1-12 0,-1 1 8 0,0 1-8 15,-2 1 4-15,0 3 8 0,-3 0-8 0,-1 4 4 0,-3 2-8 0,0 1 8 16,-3 5-8-16,0 1 12 0,-3 4 0 0,-2 3 0 0,-1 4-4 0,-4 1-4 0,-1 3-4 16,-2 2 0-16,-3 3 16 0,-2 1-12 0,-2 2 8 0,-2 0-4 15,0 2 0-15,-2 1 0 0,-1 3-4 0,-1-2 8 0,-1 2-4 0,1 0 4 0,0 1-4 16,-1 0 0-16,0 1 0 0,0-1 0 0,1-1 0 0,0 1 0 0,0 1 0 15,1-3 0-15,1 2 0 0,0-2-4 0,1-2 8 0,2 1 0 0,0-1 0 0,2-3 0 16,1 0 0-16,1-1 0 0,2-3 0 0,0 0 0 0,3-2-4 0,1 0 4 16,0-3 0-16,4-1 0 0,0 0-4 0,1-4 0 0,1 0 4 0,2-1-4 15,0-1 0-15,2-2 4 0,1-1 0 0,1-1-4 0,1-1 0 0,1-1 0 16,3-1 4-16,-2 0-4 0,1-2 0 0,2 1 0 0,1-2 4 0,0 1-8 0,1 0 4 15,0-1-4-15,2 1 0 0,-1 1-4 0,0-2 0 0,0 3 4 0,0-1-16 16,-2 2-8-16,2 0-20 0,-3 1-16 0,0 0-24 0,-2 1-32 0,1 2-4 0,-2 0 12 16,-1 2 12-16,-2 0 12 0,-1 1 8 0,-2 1 8 0</inkml:trace>
  <inkml:trace contextRef="#ctx0" brushRef="#br0" timeOffset="301315.2343">14783 14657 87 0,'46'-13'88'0,"-3"1"-8"15,-3 1-8-15,-2 1-16 0,-5 1-12 0,0 1-32 0,-5 1-24 0,-3 2-40 16,-2-1-32-16,-1 0 4 0,-5 2 4 0,-2 1 12 0,-3 0 4 0</inkml:trace>
  <inkml:trace contextRef="#ctx0" brushRef="#br0" timeOffset="302517.303">15765 9020 7 0,'-2'37'76'0,"-1"-1"-8"0,1-3-8 0,0-1-8 0,-1-1-8 16,1-1-4-16,1-3-8 0,-3 1 0 0,2-3-12 0,0 0-8 0,1-3-12 0,-1 0-16 15,1-3-32-15,0-3-40 0,1-1 12 0,-1-4 0 0,1-2 8 0,-2-3 8 16</inkml:trace>
</inkml:ink>
</file>

<file path=ppt/ink/ink4.xml><?xml version="1.0" encoding="utf-8"?>
<inkml:ink xmlns:inkml="http://www.w3.org/2003/InkML">
  <inkml:definitions>
    <inkml:context xml:id="ctx0">
      <inkml:inkSource xml:id="inkSrc0">
        <inkml:traceFormat>
          <inkml:channel name="X" type="integer" max="32767" units="in"/>
          <inkml:channel name="Y" type="integer" max="32767" units="in"/>
          <inkml:channel name="F" type="integer" max="2047" units="in"/>
          <inkml:channel name="T" type="integer" max="2.14748E9" units="dev"/>
        </inkml:traceFormat>
        <inkml:channelProperties>
          <inkml:channelProperty channel="X" name="resolution" value="15999.51074" units="1/in"/>
          <inkml:channelProperty channel="Y" name="resolution" value="15999.51074" units="1/in"/>
          <inkml:channelProperty channel="F" name="resolution" value="999.51166" units="1/in"/>
          <inkml:channelProperty channel="T" name="resolution" value="1" units="1/dev"/>
        </inkml:channelProperties>
      </inkml:inkSource>
      <inkml:timestamp xml:id="ts0" timeString="2017-10-29T07:05:43.448"/>
    </inkml:context>
    <inkml:brush xml:id="br0">
      <inkml:brushProperty name="width" value="0.05292" units="cm"/>
      <inkml:brushProperty name="height" value="0.05292" units="cm"/>
      <inkml:brushProperty name="color" value="#FF0000"/>
    </inkml:brush>
  </inkml:definitions>
  <inkml:trace contextRef="#ctx0" brushRef="#br0">18362 9582 35 0,'-11'0'56'0,"0"1"-8"0,0 0-4 16,0 0-4-16,0 0-4 0,-2 0 0 0,2-1-4 0,-2 0-4 0,2 0 0 15,-1-1 0-15,-1 1 4 0,2-1 0 0,-3 0-8 0,3 0 0 0,-1 0 0 0,-2 0 0 16,2 1-4-16,-1-2 0 0,0-1-4 0,1 2 4 0,-1-2 0 0,1 2-4 16,-1-2 0-16,1 0 8 0,0 0-8 0,0 1-4 0,0-1-4 0,1 0 4 15,-1-1-4-15,2 0 4 0,-3 0-4 0,2 0 0 0,1-2 0 0,-2 0 0 16,1 1 0-16,-1-2 0 0,1 0-4 0,2 0 4 0,-3 0-4 0,2-2 0 0,-1 0 0 15,1-1 4-15,1 0-4 0,0-2 4 0,0 1 4 0,0-2-8 0,2-1-4 16,0-1 0-16,1 1 4 0,-1-2 0 0,1-1 0 0,2 0 4 0,0-1-8 16,1-1 0-16,1-1 0 0,1 1 4 0,1-1-4 0,0-2 0 0,1 1 4 15,2-1-4-15,0 0 4 0,2 0-4 0,1-1 4 0,1-1-4 0,1 1 0 0,1-1 0 16,2 2 0-16,1-2 0 0,0 0 4 0,3 1-4 0,-1-1 4 0,2 2-4 15,1-1-4-15,1 1 4 0,1 1 0 0,1 0 4 0,2 1-4 0,-1 1 0 0,3 0 4 16,1 2 0-16,0 1 0 0,2 1 0 0,1 1 0 0,1 0-4 0,0 1 4 16,3 3-4-16,1 1 4 0,0-1-4 0,2 4 0 0,1 0 0 0,0 1 0 15,2 1 4-15,1 3 0 0,0 1-4 0,0 0 4 0,1 1-4 0,0 3 0 0,-2 1 4 16,2 1-4-16,0 0 0 0,0 1 4 0,-2 1-4 0,1 2 0 0,0 0 0 15,-1 1 0-15,-2 1 0 0,0 0 4 0,0 0-4 0,-2 2 0 0,-1 0 4 16,0-1 0-16,-3 2 0 0,-1-1-4 0,-3 2 4 0,0-1 0 0,-2 1 4 16,-3 0-4-16,-3 1 4 0,0 0 0 0,-3-1 0 0,-1 1 0 0,-2 1 4 0,-2 0 0 15,-1-1 4-15,-3 0 0 0,-2 1 0 0,0 1 0 0,-3-1-4 0,-1 1 4 16,-1 1 0-16,-3 1 4 0,-1-2-4 0,-1 2 0 0,-2 0 8 0,-3 0-8 0,-2 1-4 15,-1 1 8-15,-2 0-8 0,-2 2 12 0,-2-2-8 0,-3 2 0 0,-1 0-4 16,-1 0 4-16,-4 0 0 0,1-1 0 0,-4 1-8 0,1-2 0 0,-2 1 0 16,-1 0 0-16,0-2 4 0,-2 1-8 0,1-2 0 0,-1 0 4 0,-2-1-8 15,1-1 0-15,0 0-4 0,-1-3 4 0,-2 0 0 0,1-2-4 0,1-2-12 0,-2 0 0 16,0-3-4-16,-1-1-16 0,0-3-8 0,0-2-16 0,0-2-16 0,0-2-4 15,-1-3-16-15,1 0-20 0,1-4-24 0,-1-1-4 0,3-2 20 0,0-1 12 0,1-1 8 16,-1-4 16-16,3 2 8 0,0-2 12 0,2-1 4 0</inkml:trace>
  <inkml:trace contextRef="#ctx0" brushRef="#br0" timeOffset="6757.3865">3922 9821 39 0,'-6'3'60'16,"0"1"-12"-16,1 0-4 0,0 0-4 0,-1 0 0 0,0 1 0 0,1-1-4 0,0 0 4 15,1 1 0-15,-1-2 0 0,1 0-8 0,-1 1 0 0,2-1-8 16,-1 0 8-16,0-1-4 0,1 0-4 0,0 0 8 0,-1-1-4 0,1-1 0 0,1 0 4 16,-1 0-8-16,0 0 0 0,0 0 0 0,2 0-4 0,0 0 4 0,0 0-4 15,0-1-4-15,0 1 0 0,1 0 0 0,0-1-4 0,-1 1 0 0,1-1-4 0,0 1 0 16,0 0 0-16,1 0 0 0,-1 0 0 0,1 0 0 0,1 0 0 0,0 0 0 15,-1 0 0-15,2 1-8 0,1 0 4 0,0-1 0 0,0 1 0 0,1-1 0 16,1 1 0-16,0 0 0 0,2-1 0 0,0 0 0 0,2 0-4 0,1 0 4 0,0-1 0 16,1 0 0-16,3-2 0 0,0 1 0 0,2-1 0 0,1 0 0 0,1-1-4 15,1 0 0-15,1 0 0 0,1-2 0 0,1 1 0 0,1 0 0 0,0-1-4 0,1-1 4 16,0 1 0-16,2-1 0 0,-1 1 0 0,0-2 0 0,2 1 4 0,-3-1 0 15,2 2-4-15,0-1 4 0,-1 0-4 0,0 1 0 0,0 0 4 0,-1 1 0 16,-1-1-4-16,0 1 0 0,0 2 0 0,-2 0 4 0,0 1 4 0,0 0 0 16,-1 1-4-16,-2 1 4 0,1 0 0 0,-1 0 0 0,1 1 0 0,-1 1-4 0,-1 0 4 15,1 1 0-15,-1 0 0 0,0 0-4 0,1 0 4 0,-1 2 0 0,2-2 4 16,0 1-4-16,-1 0 0 0,1 0 0 0,0-1 4 0,0 2 4 0,2-3-8 0,-1 2 4 15,0-1 0-15,2 0-4 0,-1 0 4 0,0-1 0 0,1 2 0 16,0-3 0-16,1 2-8 0,-1-1 4 0,1 1 0 0,1-1 4 0,-1 0-4 0,0-1-8 16,0 1 12-16,1-1 0 0,0 0-8 0,0 1 4 0,0-1-4 0,0 0 4 15,0-1 0-15,2 1 4 0,-1-2-8 0,0 1 0 0,2-1-4 0,-1 0 8 0,0-1-4 16,1 1 4-16,0 0 0 0,1-2-4 0,0 1-4 0,0-1 4 0,0 0 4 15,1-1-4-15,0 1 0 0,0-1 4 0,0 1 0 0,1-2-4 0,-1 0 0 16,2 1 0-16,-2-1 4 0,2 0-4 0,-2 0 0 0,1 0 4 0,0 0 0 16,0-1-4-16,0 2 4 0,-1 0 4 0,1 0-4 0,-1-2-4 0,1 3 4 0,-2-1 0 15,1 1 4-15,-1 1-4 0,1-2-4 0,-1 2 4 0,0-1-4 0,1 2 0 16,-1 0 0-16,0-1 4 0,0 2 0 0,1 0 0 0,-2 0 0 0,2 0 0 0,0 0-4 15,0 0 4-15,0 2 0 0,0-1 0 0,0 0 0 0,1 0 0 0,-1 1 0 16,1-1 0-16,0 0 0 0,0 0 0 0,0-1-4 0,2 1 4 0,-1 1 0 16,0-2-4-16,1 1 4 0,1-1-4 0,-1 0 0 0,0-1 4 0,2 1-4 0,0-3 4 15,0 3 0-15,0-1-4 0,2-2 0 0,0 1 0 0,-1 0 0 0,0-1 0 16,1 0 0-16,0 0-4 0,1 0 4 0,-1 1 0 0,0-2 0 0,0 1 0 0,0-1-4 15,1 1 0-15,-1-1 4 0,0 1-4 0,0 0 4 0,0-1-4 16,1 2 4-16,-1-2 0 0,0 1-4 0,0 0 4 0,0 1-4 0,2-1 4 0,-2 1 0 16,-1 0 0-16,1-1-4 0,1 1 0 0,-2 0 0 0,0 1 0 0,0-2 0 15,-1 2 4-15,0-1-4 0,0 1 0 0,1-1 0 0,-2 1 0 0,1-1 0 0,-2 1 0 16,1-1 0-16,0 1 0 0,-1 0 0 0,1 0 0 0,-1-1 0 0,0 2-4 15,0-1 4-15,0 0 0 0,-1 0 0 0,-1 0 0 0,1 0 0 0,0 1 0 16,-1-2 0-16,-1 2 0 0,1 0 0 0,-1 0 0 0,0 0 0 0,-1 0 0 16,1 0 0-16,-3 0 0 0,1 2 0 0,0-1-4 0,0 1 4 0,1-1 0 0,-1 0 0 15,-1 1 0-15,0 0 0 0,0-1 4 0,0 2-4 0,0-1 0 0,0 1 0 16,0-2 0-16,-1 2-4 0,2 0 4 0,-1 0 0 0,-1-1 0 0,1 0 0 0,0 0 0 15,-1 0 0-15,0-1 0 0,2 2 0 0,-2-2 0 0,0 0 0 16,1 1-4-16,-2-1 4 0,2 0 0 0,0 0 0 0,0-1 0 0,0 0 0 0,1 0 0 16,0 0 0-16,-1 0 0 0,2 0 0 0,-2 0 0 0,1-1 0 0,1 0 0 15,1 1 0-15,0-1 0 0,-1-1 0 0,1 2 0 0,0-1 0 0,0 0 0 0,1 0 0 16,-1-1 0-16,1 2 0 0,0-2 0 0,-1 1 0 0,2 1 0 0,-2-1 0 15,2 0 0-15,-2 1 0 0,1 0 0 0,0 0 0 0,0-2 0 0,0 2 4 16,0 0-4-16,-1 0 4 0,2 0 0 0,-2 0-4 0,1 0 0 0,0 0 0 16,-1 0 0-16,0 2 0 0,1-2 0 0,-2 0 0 0,1 1 0 0,0 0 0 0,-1 0 0 15,-1 1 0-15,1-2 0 0,-1 2 0 0,0 0 0 0,-1-1 0 0,1 1 0 16,-1 1 0-16,-1-1 0 0,0-1 0 0,-1 2 0 0,0-1 0 0,-1 0 0 0,0 0 0 15,-1 1 0-15,-1 0 0 0,-1 0-4 0,-1-2 4 0,-2 3 0 0,1-1-4 16,-1 0-4-16,-3 0 0 0,0-1 0 0,-2 1 0 0,1-1-4 0,-3 1 0 16,0-1-16-16,-1 1-8 0,-2-1-8 0,-1 1-24 0,-2-1-28 0,-1-1-12 0,-1 1-24 15,-2-1-28-15,-1 0-28 0,-2 0 20 0,0-1 16 0,-3 0 20 0,-1 0 12 16,-1-1 16-16,-4 0 8 0,0 0 12 0,-2-2 8 0,-3 1 12 0</inkml:trace>
  <inkml:trace contextRef="#ctx0" brushRef="#br0" timeOffset="8200.469">2983 10611 35 0,'-5'-6'56'0,"1"2"-4"15,1-1-8-15,-1 0-4 0,0 0-4 0,2 1-4 0,-1 0 0 0,1 0 0 0,0 0 0 16,2 1-4-16,-1-1-4 0,0 1 4 0,0 0-8 0,1 0 8 0,1 1 0 15,0 0-8-15,0-1 4 0,0 2 0 0,1-1 0 0,0 1-4 0,1 1-4 0,1 0 0 16,1 0 4-16,-1 1-8 0,2 1-4 0,0 0 4 0,0 1-4 0,2 0 4 16,0 0-4-16,-1 1 0 0,1 0 0 0,2 0 0 0,-1 0-4 0,-1 1 4 15,3-1-8-15,-3 1 4 0,1 1 0 0,0 0 0 0,0-1 4 0,-1 1 0 16,0 0 0-16,2 0 0 0,-3 0-4 0,0 1 0 0,0 1-4 0,-1-1 4 0,1 1 0 15,-3-1 0-15,0 2-4 0,0-1 0 0,-2 1 0 0,0 0 4 0,-1-1-4 16,-1 1 4-16,-1 0-4 0,-1 1 0 0,0 0 0 0,-2-2 4 0,0 2-4 16,0 0 4-16,-3-1-4 0,2 0 4 0,-2 0 0 0,1 0 0 0,-1-1 0 15,-1 0 4-15,1 1 0 0,0 0 4 0,-1-2 0 0,-1 0 0 0,2 0 4 0,0-1 0 16,0-1-4-16,-1 0 4 0,2 0-4 0,0 0 0 0,0-2-4 0,1 0 0 15,-1 0 0-15,2-2-4 0,1 1 0 0,0 0 0 0,0-2 0 0,3 0 0 0,-1 0 4 16,1 0-4-16,1 0 0 0,-1-2 0 0,3 0-4 0,0 1 0 0,1-1 0 16,0 0 0-16,3-1 0 0,-1 1 0 0,0-1 0 0,2 0 0 0,1-1 0 15,-1 2 0-15,1-2 0 0,1 1 0 0,-1 0-4 0,1-1 0 0,0 1 0 0,1-1-4 16,-1 0 4-16,2 1 0 0,-1-1-8 0,0 1 0 0,1 0-8 0,-2-1-8 15,1 1-4-15,1-1-4 0,-3 2-8 0,1-1-8 0,1 1-8 0,-3-1-4 0,1 1-12 16,1-1-20-16,-3 2-16 0,-1-1 12 0,1 1 12 0,-1 0 12 0,0 1 4 16,0-2 12-16</inkml:trace>
  <inkml:trace contextRef="#ctx0" brushRef="#br0" timeOffset="8733.4995">3697 10532 59 0,'0'-4'60'0,"0"0"-4"0,0 1-8 0,0 0-4 0,1-1-4 0,-1 2-8 16,0 0 8-16,1 0-4 0,0 0 0 0,0 1-12 0,0 0 4 0,0 1-4 16,0 0 0-16,3 1 0 0,-2 0-8 0,0 1 0 0,0 0 8 0,0 0-8 15,0 1-8-15,1 0 12 0,-1 0-8 0,1 0 0 0,-1 1 0 0,1-1-4 16,1 1 8-16,0 0-8 0,-1 0 4 0,1 0-8 0,0 1 4 0,-1 0 0 0,0-2 4 15,0 2-8-15,1-1-4 0,-2 1 4 0,1 0 0 0,1-1 0 0,-2 0 4 16,0 1 0-16,0-1-4 0,-2 1-4 0,1-1-4 0,0 1 8 0,-1-1 0 0,0 1-4 16,-1 0 4-16,0 0 0 0,0-1 0 0,-2 2 4 0,2-2-8 15,-2 1 0-15,-1 0 0 0,1-1 0 0,0 0 0 0,0 1 4 0,0 0-4 0,-1-1 0 16,0-1 0-16,1 2 0 0,0-1-4 0,-2 0 4 0,3-2 0 0,-1 2 0 15,-1-1 0-15,2 0 8 0,0 1-8 0,0-1 0 0,0-1 4 0,1 1 0 0,1 0-4 16,0-2 0-16,0 2 4 0,1-1-4 0,1 0 4 0,0 0-4 0,1-1 0 16,0 1 0-16,1-2-4 0,0 2 4 0,2 0 8 0,-1-1-4 0,1 0-4 15,0 1-4-15,0-1 4 0,2 0 0 0,-2 0 8 0,1 1-8 0,-1 0 4 16,3 0 0-16,-3-1 0 0,1 1 4 0,0 0-4 0,0 0 4 0,0 0 0 0,-1-1 0 15,0 2 4-15,0-1 0 0,-2 1 4 0,2 0 0 0,-2 0-4 0,0 0 0 16,-1 1-4-16,-1 0 0 0,-1 2 0 0,0-1 0 0,-1 1 0 0,-2 0 0 0,1 2-4 16,-1-2 0-16,-1 2 0 0,-1 0-4 0,0 0 0 0,-2 1 0 0,0 0 0 15,0 0 0-15,1 0-4 0,-2 2 0 0,0-3 0 0,-1 1-4 0,1 1-8 16,-1-2-4-16,0 2 4 0,1-2-20 0,-2 1-8 0,1-1-4 0,0 0-4 0,0-1-8 15,0 0-8-15,-1-1-8 0,2-1-20 0,-1 0-8 0,1 0 4 0,0-2 12 16,0 0 12-16,1-1 8 0,0 0 8 0</inkml:trace>
  <inkml:trace contextRef="#ctx0" brushRef="#br0" timeOffset="9241.5286">3040 11196 3 0,'-21'-5'44'16,"0"0"4"-16,1 0-4 0,-2 0 0 0,1 0 0 0,0 0 0 0,0 0 0 0,0-2-4 15,2 1 0-15,-1 0 0 0,0 0 4 0,3-1-8 0,0-1-8 0,1 1 4 16,1-2-4-16,1 1 0 0,0-2 0 0,3-1-8 0,0 1 0 0,1-1-8 0,2-1 4 16,1-1-8-16,3 0 8 0,0-2-4 0,2 0-4 0,2-1 4 15,1-1-4-15,3 0 0 0,1-2 0 0,2 0 0 0,2-1 0 0,3-1 0 0,1 0-4 16,2-1 0-16,3-1 0 0,2-1 0 0,3 0-4 0,0-1 0 0,5 2 0 15,0-3 0-15,2 2 0 0,2-1 4 0,1 0-8 0,3 1 4 0,0 0 0 0,0 1-4 16,2 1 4-16,1 0 0 0,0 1 0 0,1 3 0 0,0-1 0 0,2 3 0 16,-2 1 8-16,0 2-8 0,2 1 0 0,-1 2 0 0,-1 2 0 0,1 1 4 15,0 1-4-15,-2 3 4 0,0 1 0 0,0 2 0 0,-3 2-4 0,0 1 4 16,-2 3 0-16,-1-1-4 0,-2 4 4 0,-1 0 0 0,-1 2 4 0,-2 2 0 0,-1-1 0 15,-3 3 0-15,0 1 0 0,-2 1 8 0,-1 1-4 0,-2 1 4 0,-1 0 4 16,-2 2 0-16,0 0 12 0,-3 1 0 0,0 1 4 0,-2 1 0 0,-2-1-4 0,-2 1 0 16,-1 0-4-16,0 0 0 0,-4 1-8 0,0-3 8 0,-3 3-4 15,0-3-4-15,-3 1-8 0,0-1-4 0,-2 1 12 0,-1-2-12 0,-3 0-4 0,1-1 4 16,-2-1-4-16,-2 0 0 0,0 0 0 0,-2-1-8 0,0-2 0 0,-2 1 8 15,-1 0-4-15,-1-3 0 0,-1 0-8 0,0-1-4 0,-3-2-8 0,0 0-4 0,-1-1-4 16,-1-1-8-16,0-3-4 0,0 1-8 0,-2-1 4 0,1-2-16 0,-1 0 0 16,1 0-8-16,-1-1-4 0,1-1-4 0,0 0-16 0,1 0-28 0,1-1 0 15,-1 1 12-15,0-2 12 0,2 1 12 0,-1-1 12 0,2 0 8 0,0 0 4 0</inkml:trace>
  <inkml:trace contextRef="#ctx0" brushRef="#br0" timeOffset="9660.5525">2556 11516 19 0,'2'-5'52'0,"0"-1"-4"0,1 0-4 0,0 1-4 0,1 1 4 16,-2-1 4-16,1 1-8 0,-1-1 0 0,0 3-8 0,-1-1 4 0,0 0 0 0,1 0-4 15,-1 3-8-15,-2-1 8 0,0 2 0 0,0 0-16 0,-1 1 0 0,-1 2 8 16,0 0-4-16,-1 2-8 0,-1 0 4 0,0 2-8 0,0 0 8 0,-1 2-8 0,1-1 8 16,-2 2-16-16,1 1 8 0,0 0-4 0,0 0-4 0,-1 0 4 15,0 0 0-15,0 2-8 0,0-1 8 0,1 1-8 0,0-1-4 0,-1 1 0 0,1 0-4 16,0 0-8-16,0-1-12 0,2-1-8 0,-2 1-4 0,1-1-16 0,1-1-12 15,0 0-28-15,0-1 8 0,1 0 8 0,0-3 12 0,1 0 8 0,0-1 8 0</inkml:trace>
  <inkml:trace contextRef="#ctx0" brushRef="#br0" timeOffset="9989.5714">2001 12183 43 0,'0'-8'56'0,"-1"1"4"15,1 0-8-15,-1 1 0 0,1 0-8 0,0 1-4 0,0 0 0 0,0 0-8 16,0 1 0-16,1 1-4 0,-1 1-12 0,0 0 0 0,0 1 12 0,0 1-4 0,0 0-8 15,1 2 4-15,-1 1-4 0,0-1-8 0,0 2 0 0,1 0 0 0,0 1 0 16,-1 0 0-16,1 2-4 0,0 0 4 0,1-1 0 0,-1 2 0 0,1 0-8 0,0 0 4 16,1 1 0-16,-1 0 4 0,0 1-8 0,1-1 0 0,-2 2 0 15,2-1 0-15,-1 1 4 0,0-1-4 0,0 2-8 0,1-3 8 0,-1 2-4 0,0-1-4 16,0 0 4-16,2 0-4 0,-2-1 4 0,0 0 0 0,0-1 0 0,0 0-8 15,0-1-4-15,-1 0 0 0,2-1-8 0,-2-1-4 0,1 0-4 0,0-1-20 0,-1-3-24 16,1 0-16-16,-1-2 8 0,0 0 8 0,1-3 8 0,0-1 12 0</inkml:trace>
  <inkml:trace contextRef="#ctx0" brushRef="#br0" timeOffset="10281.588">2195 12061 3 0,'2'-4'64'0,"1"0"-4"0,-2 2-12 0,1-1-4 0,-1 3-8 16,-1-1 0-16,1 2-8 0,-1-1 4 0,0 1-8 0,-1 2 0 0,1-1 4 15,0 2-8-15,-1-1-4 0,1 0 4 0,0-1-4 0,0 2-4 0,1-1 4 16,0 0-8-16,0-1 4 0,1 0 4 0,0 0-12 0,2-1 12 0,-1 1 0 0,2-1-4 15,0-1-12-15,2 1 8 0,1 0 0 0,-1-1 4 0,2 1-12 0,0-1 4 16,0 1 4-16,0-1 0 0,2 0 4 0,-1 0-4 0,1 0 0 0,-1 1 0 0,1-1-4 16,0 0 0-16,0 1 8 0,-2-1-8 0,2 0-4 0,0 0 8 15,-1 1-4-15,-1-1 0 0,1 0 4 0,0 0 0 0,-1 1 0 0,0-1 0 0,-1 2 4 16,-1 0 4-16,1-1-4 0,-1 2 8 0,0 0-8 0,-2 1 4 0,0 1-4 15,-1-2 4-15,1 3-8 0,0 0 4 0,-3 0 0 0,1 1-4 0,-1 0 0 0,0 3 0 16,-1-3 0-16,0 3 0 0,0-1-8 0,0 0 8 0,-1 2 0 0,1-1-4 16,-1 1-4-16,0 0 0 0,0 0 0 0,-1 1-8 0,1-1-4 0,0 0 8 15,0 0-4-15,-1 0 0 0,1 0-8 0,-1 0-4 0,1-1-8 0,-1 0-8 16,1-1-8-16,0 0-8 0,-1-1-8 0,1-1-20 0,-1 0-28 0,1-1 4 0,0 0 8 15,0-1 12-15,0-1 12 0,0-1 8 0,0-1 8 0</inkml:trace>
  <inkml:trace contextRef="#ctx0" brushRef="#br0" timeOffset="10745.6146">2125 12719 19 0,'-18'5'52'0,"-1"1"-4"0,0-3-4 0,0 0-4 0,-1 1 0 15,0-2 0-15,1-1-4 0,-1-1-4 0,0 0 0 0,2-1 0 0,-1-1-4 0,0-2-12 16,1 0 0-16,-1 0 4 0,2-3 8 0,0-2-8 0,0 1 0 0,2-2-12 16,0 0 4-16,-1-2 8 0,3-1-12 0,0-2 8 0,1 0-4 0,2 0-4 15,-1-2 4-15,3-1-4 0,0 0 0 0,2 0 0 0,-1-2 0 0,3 1 0 16,1-2-4-16,1 0 0 0,1 0 0 0,2-1 0 0,1 0 0 0,2-1-8 0,2-1-8 15,0 1 4-15,2-2 0 0,1 1 8 0,3-1 8 0,0 0-4 0,3 0 4 16,1 0-12-16,3 0 12 0,-1 0-4 0,4 0-12 0,1 2 8 0,2-1 0 0,0 1 0 16,3 2 0-16,0-1 8 0,2 3-12 0,1 1 4 0,1-1 0 0,0 3 0 15,1 1-4-15,0 1 0 0,2 0 8 0,-2 3 0 0,2 1 4 0,-1 0-4 16,-1 3-4-16,1 2 8 0,0 1 4 0,-1 1-8 0,0 1 0 0,-1 2 4 0,-1 2-4 15,0 2 8-15,-2 0 0 0,0 4 4 0,-2-1 0 0,-2 3 4 0,0 1 4 16,-4 0 0-16,0 3 0 0,-3 1 0 0,-1-1 4 0,-2 2 4 0,-2 2 8 0,-2 0 0 16,0 0-4-16,-3 1 0 0,-1 2-4 0,-2 0-4 0,1 0 4 15,-4 0-4-15,0 1 0 0,-2 1-4 0,-2 0 0 0,0 0-8 0,-2 1-8 0,-2-2 8 16,1 2-4-16,-3-1 0 0,0 1-4 0,-3-1 0 0,1 0 0 0,-2-1 0 15,-2 0-8-15,0 0 8 0,-2 1 0 0,0-3-4 0,-2 1-4 0,-1-1 0 0,0-3-4 16,-2 2 4-16,-1-2-4 0,1-2-4 0,-3 0 8 0,-1-2 0 0,-1-1-4 16,2-2 0-16,-3 0 0 0,1-3-4 0,-1 1-8 0,0-3 0 0,1 0-8 15,0-1 0-15,1-2-4 0,0 0-8 0,1-1-16 0,0-1-4 0,2 0-24 16,1-1-12-16,0-1-36 0,1-2-16 0,3 1 16 0,0-2 8 0,1 0 12 0,1 0 16 15,4-2 8-15,0 0 8 0,0-1 8 0</inkml:trace>
  <inkml:trace contextRef="#ctx0" brushRef="#br0" timeOffset="11323.6477">4454 11362 63 0,'-2'-3'72'0,"0"1"-4"0,0-1-8 0,-1 2-4 0,2-2-8 16,-1 2 4-16,1 0-12 0,1 0-8 0,0 1 0 0,0 0 4 0,0 0-4 0,2 1-4 16,-1 0 0-16,2 2-4 0,-1 0 0 0,1 0 0 0,0 1 4 15,0 1 0-15,1 0-4 0,1-1 0 0,0 4 0 0,1-1-4 0,0 0 0 0,0 3 0 16,1-1-4-16,0 0 4 0,2 2-4 0,0 1 0 0,0 0 0 0,1 1 0 15,0-1 0-15,-1 1-4 0,2 0-4 0,-1 1 8 0,0 1-4 0,2-1 0 0,-3-1 0 16,2 2 0-16,0-2 0 0,-1 1 0 0,0-2 4 0,1 1-4 0,-2-1 0 16,1 0 0-16,0-2 0 0,-1 0 0 0,-1 1 0 0,1-3 0 0,0 1 0 15,-2-1 0-15,0-1-4 0,-1 0 0 0,2-1 0 0,-3-1 0 0,0-1-4 16,0 0 0-16,-1-1 0 0,0 0-4 0,0 0 0 0,-1-1 0 0,0-1-8 0,-1 1 0 15,0-2-12-15,-2 2-8 0,0-2-16 0,0 0-20 0,0 0-20 0,-2 0-24 16,0-2-24-16,0 1-12 0,-2 0 16 0,0-1 12 0,1 0 20 0,-1 0 8 0,-1-1 8 16,0 0 12-16,0 1 4 0</inkml:trace>
  <inkml:trace contextRef="#ctx0" brushRef="#br0" timeOffset="11912.6814">4655 11991 3 0,'-11'1'80'0,"1"-1"-8"0,-2 1-16 0,2-1 0 0,1 1 4 0,-1 1-20 15,2-1 0-15,0-1 8 0,0 2-8 0,1-1 4 0,0 1 0 0,2 0 0 0,-1-1-4 16,0-1-4-16,1 2-4 0,1 0 4 0,0-1-8 0,1-1 0 0,-1 1-8 15,2 0 0-15,-1-1 0 0,1 2-4 0,0-2 0 0,0 0 0 0,1 1 0 0,1-1 0 16,1 0-4-16,1 0 0 0,0 0 0 0,1 0 0 0,1 0-4 0,1 1 0 16,0-1 0-16,2-1 0 0,0 1-4 0,2 0 4 0,-1-1 0 0,1 1-4 15,2-2 0-15,-1 2 0 0,2 0 0 0,-1-1 0 0,1 0 0 0,0 1-4 16,1 0 4-16,-1 0 0 0,1 0 0 0,0 0 0 0,1 0 4 0,-2 1-4 0,2 0 4 15,-2 1 0-15,1-2 0 0,0 1 4 0,-2 1 0 0,2 2 4 0,-3-1 0 16,0 1 4-16,0 0 0 0,-1 1 4 0,-1 1-4 0,-3 0-8 0,2 3 12 0,-2-1-4 16,-1 2-8-16,-1 0 4 0,-1 2 0 0,0 0 0 0,-2 0 0 15,0 1 0-15,0 0 0 0,0 1-8 0,-1 1 0 0,0-1 8 0,-1 3-12 0,0-2-4 16,0 1 0-16,0 0 0 0,0 1 0 0,0-2 12 0,-2 2-8 0,1-2-8 15,1 0 8-15,-1 1-8 0,1-2 4 0,-1 0-4 0,1-2-4 0,-1 1 4 0,2-2 0 16,-1 0-4-16,0-2 0 0,1 0 4 0,1-1-4 0,-1 0-4 0,0-3-4 16,1 1-4-16,-1-1-8 0,1-1-8 0,0-1-8 0,-1-2-12 0,1 1-8 15,1-2 0-15,-1 0-8 0,1-3-8 0,0 1-8 0,0-2-20 0,-1 0-24 0,2-1 8 16,0 0 16-16,-1 0 12 0,0-1 12 0,2 1 8 0,-2-2 8 0,2 1 8 15</inkml:trace>
  <inkml:trace contextRef="#ctx0" brushRef="#br0" timeOffset="12219.6989">5110 12168 39 0,'8'-7'68'0,"1"1"-4"0,0 0-4 16,-2 1 0-16,0 0-8 0,2 0-12 0,-2 0 4 0,0 3 0 0,-1-3-4 0,1 3 4 16,-1-1-4-16,-1 2 0 0,1 0 0 0,-1 0 4 0,0 1 0 15,0 0-8-15,0 1 0 0,-2-1 0 0,1 2-8 0,-1 0-12 0,0 1 16 0,0 0-4 16,-2 0-4-16,2-1 4 0,-2 3-4 0,3-1 0 0,-3 1-4 0,2 0 0 15,-2 0 0-15,2 0 0 0,-1 1-4 0,-2 0 0 0,2 0 0 0,-1 0 4 0,0 0-4 16,-1 1-4-16,1 0 0 0,-1-1 0 0,0 1 4 0,0-1 0 0,-1 1-8 16,1-1 8-16,0 0-8 0,-1 0 4 0,0 0 4 0,0-2-8 0,0 1 4 15,1 0-8-15,0 0 8 0,-1 0-8 0,0-2 4 0,1 1 0 0,0-1-4 0,0 1-8 16,0-1 12-16,1 0 0 0,0 1-8 0,0-2-4 0,2 0 8 0,-1 0 4 15,1 0-8-15,1-1 0 0,0 0 4 0,2 0-8 0,-1-1 4 0,2 0-4 0,0 0 8 16,0-1-4-16,2 1-8 0,-1-1 0 0,1 0-4 0,1-1-4 0,0 1-8 16,0-1-4-16,1 1-8 0,-1-1-4 0,0 1-12 0,1 1-4 0,0-3-12 15,-1 2 4-15,0-1-16 0,-1 1-8 0,0-1-12 0,1 1-28 0,-2 0 0 16,-2-1 20-16,1 1 12 0,-1 0 12 0,0 0 8 0,-2-1 8 0,-1 2 8 0</inkml:trace>
  <inkml:trace contextRef="#ctx0" brushRef="#br0" timeOffset="12719.7275">4839 12756 31 0,'-19'9'40'0,"0"-2"0"0,0 0-4 0,1-1-4 15,-1-1-4-15,1-1 0 0,-1-1-4 0,0 0 0 0,2-3 0 0,-2 0-4 0,1 0 0 16,1-2 0-16,0 0-4 0,-1-2 0 0,0-1 0 0,2-2 0 0,-1 1 0 16,0-2 0-16,0-1 4 0,1-2-4 0,0 0 0 0,0 0 8 0,0-2-4 15,2 0-8-15,-1-1 8 0,2-1-8 0,0 0 4 0,2-2-8 0,0-2 4 16,0 1 8-16,3 0-8 0,0-3 0 0,0 0-12 0,3-2 8 0,1 0 8 0,1 0-8 15,2 0 0-15,1-3 4 0,2 0 0 0,1-2-12 0,2 1 4 0,3-2-8 16,0-1 4-16,2-1 8 0,3-1-4 0,0-1-4 0,3 1-4 0,0-2 4 0,3 0 0 16,1-1 8-16,1 0-8 0,3 1 4 0,1-1 0 0,-1 2-4 15,4-2 4-15,2 3-4 0,1 1 0 0,2 1 0 0,0 1 4 0,3 0-4 0,-1 4 4 16,1 0 0-16,1 1 0 0,0 2 4 0,2 2-8 0,-1 2 0 0,0 4 0 15,1 0-8-15,1 3 16 0,-3 3-12 0,2 3 4 0,-1 2 0 0,1 2 4 0,-1 4-4 16,-1 0 4-16,-1 4 0 0,0 3 0 0,1 0-4 0,-2 4 4 0,-1 0 0 16,0 4 0-16,-1-1 0 0,-1 2 0 0,-2 1 8 0,-1 1 4 0,-2 2-4 15,0 0 4-15,-4-1 0 0,1 2 0 0,-2 1 4 0,-2 0 0 0,-2 0-4 16,-1 0 4-16,-2 1 0 0,-1 0 4 0,-3 0-4 0,-2-1 4 0,1 1 4 0,-4 0 0 15,-1-1-4-15,-3 1 8 0,0-1-12 0,-2 1 4 0,-2 0-4 0,-1-1-4 16,-2 1 4-16,-1-2 4 0,-3 1-8 0,-1 0 0 0,-2-1 0 0,-2 1-8 0,-1-2 0 16,-2 0 4-16,0 0-12 0,-3 0 8 0,-2-1 0 0,0 0-4 0,0-1 0 15,-3 0 0-15,0-1-12 0,-2 0 0 0,0-2 4 0,-2 0-8 0,1-1-4 16,-1-2-8-16,-2-1-8 0,1 0-8 0,-2-4-4 0,1 2-4 0,0-2-8 0,0-2-4 15,1-1 0-15,-1-1-8 0,3-1-8 0,-1-1-12 0,0 0-24 0,2-2-16 16,0 1 16-16,1-3 12 0,1 1 8 0,2-2 12 0,0 1 12 0,2-2 8 0</inkml:trace>
  <inkml:trace contextRef="#ctx0" brushRef="#br0" timeOffset="13623.7792">1985 13295 63 0,'0'-12'84'0,"0"0"-4"0,1 2-4 16,0 0 0-16,-1 0 4 0,1 1-12 0,-1 0-4 0,0 2-4 0,1-1 0 0,-1 1-4 15,0 1-4-15,0 1 0 0,-1 0-8 0,0 2 0 0,0 0-8 0,0 1 0 16,-3 0-4-16,1 2 0 0,0 2 0 0,-1 1-4 0,-1 0 4 0,0 3-8 0,-1 0 4 16,-1 1-12-16,1 2 4 0,0 1 0 0,-1 2 4 0,1 1-4 0,-3 0-8 15,2 1 0-15,0 3 4 0,-2 0-12 0,-1 0-4 0,1 1 4 0,0 1 8 16,-1 0-12-16,1 3 4 0,-1-2 4 0,-1 2-12 0,1-1 8 0,0 0 8 0,0 1-8 15,0-1-8-15,1 0 12 0,0 0-4 0,0-1-4 0,1-2-8 0,1 2 4 16,-2-3 0-16,2 0 4 0,0-1-12 0,2-1 0 0,-1-1-4 0,0-2-4 0,2 0-4 16,1-2-8-16,-1 0-12 0,2-2-4 0,0-2-4 0,1 1-8 15,0-3-8-15,1-1-4 0,0 0-8 0,1-2-16 0,0-1-16 0,1-1-12 0,0 0 12 16,-1-1 12-16,2-2 12 0,-1 1 8 0,1 0 12 0,-2-1 4 0</inkml:trace>
  <inkml:trace contextRef="#ctx0" brushRef="#br0" timeOffset="14353.821">1625 13832 47 0,'-2'-5'64'0,"0"3"-4"16,0-1-8-16,-2 0-4 0,1 2-8 0,0 1 4 0,-1 0-8 0,0 1 4 0,-1 1-12 16,1 1 0-16,0 2 8 0,0 0-12 0,-2 2 8 0,2 0-4 15,0 4 0-15,0-1 8 0,0 3-8 0,0 1-8 0,0 0 4 0,-1 2 4 0,1 2 4 16,2 0-8-16,-1 0 0 0,1 3-4 0,0 0 0 0,2 2 0 0,0 0-4 15,0-1 0-15,2 2-4 0,0-2 0 0,0 2 0 0,1-1-4 0,1 1 0 0,1-2 0 16,0 0 0-16,0 0 0 0,1-1 0 0,0 0 0 0,1-2 0 0,1-1 0 16,-1-1 0-16,1-2-4 0,1-1 0 0,0-1 0 0,0-2 0 0,0-1 0 15,1-2 0-15,0-3 0 0,-1 0 0 0,1-3-4 0,-1 0 4 0,1-3-4 16,0-1 4-16,-1-1-4 0,-1-2 0 0,2-1 0 0,-1 0 0 0,-2-3 0 0,0 1 0 15,2-1-4-15,-3-1 0 0,0 1 4 0,0-2 0 0,-1 0 0 0,-1 0 0 0,0 1 4 16,-2-1-4-16,0-1 4 0,0 2 0 0,-2 0-4 0,-1 0 0 0,-1 0 0 16,0 0 4-16,-2 1 0 0,-1 1-4 0,0 0 0 0,-1 2 4 0,-1 0-4 15,-2 2 0-15,1 0 4 0,-1 0-4 0,0 2 0 0,-2 2 0 0,1-1 4 16,0 2 0-16,-2-1-4 0,1 2 4 0,-1 1-4 0,1 0 0 0,1 0 0 0,-1 1 0 15,1-1 4-15,0 2-4 0,-1 0-4 0,2-1 4 0,1 1-4 0,1 0 4 16,-2 0 0-16,3-1 0 0,0 1-4 0,1 0 4 0,1 1-4 0,1-3 0 0,-1 1 0 16,3 0 4-16,0-1-4 0,1 0 0 0,2-1-4 0,-1 0 0 15,3-1 4-15,-1 0-8 0,2 0-4 0,-1-2-8 0,2 0 0 0,0 0 4 0,2-1-8 16,-1-1-12-16,1 1 4 0,1-3 4 0,1 1 4 0,-1 0 4 0,0-1 4 15,3 0-4-15,-2-1 8 0,1 1 0 0,0 0 8 0,0-1 0 0,0 1-4 0,1-1 12 16,-1 1-8-16,1 0 8 0,0 0 0 0,-2 0 4 0,2 0-12 0,-2 1 16 16,1 0-8-16,1 0-4 0,-2 1 12 0,0 0-12 0,1 0 12 0,-1 2-12 15,0-1 4-15,0 2 4 0,-1-2 4 0,0 2-4 0,1 0-4 0,-1 2 12 16,-1 0-8-16,0-1-4 0,1 1 12 0,0 0-4 0,-1 1-8 0,2 1 4 0,-3-1 0 15,1 0 0-15,1 0 4 0,0 0 0 0,0 0-4 0,-1-1 0 0,2 1 4 16,-2-2-8-16,1 1 0 0,0 0 4 0,1-2 8 0,-1 2-12 0,0-2 4 0,1 0-4 16,-1-2 4-16,0 1 0 0,1 0 0 0,-2-2 4 0,1 0-4 0,0 0-4 15,-1-1 0-15,0-1 4 0,0 0 0 0,-2-1-8 0,2 0 8 0,-3 0 0 16,0-1 4-16,0 0 0 0,-1 0-4 0,0-2 0 0,-2 1 4 0,1 0 0 15,-2 1 0-15,-1-2 8 0,-1 1-4 0,-3 0-4 0,2 0 4 0,-2 0 0 0,-1 1 0 16,0 0 0-16,-2 1-4 0,-1 0 0 0,0 0 0 0,0 2 0 0,-2 0-4 16,-1 1 0-16,0 0 0 0,1 2 0 0,-2-1 0 0,0 2 0 0,1 0 0 15,-1 0-4-15,1 2 0 0,-2 0 0 0,2 1 0 0,0 0 0 0,0 1 0 0,1-1 0 16,-1 2-8-16,2 0-4 0,1 0 0 0,0 1-8 0,0-1-16 0,1 1 0 15,2 0-12-15,0 0-12 0,1 1-16 0,0-2-28 0,0 0-12 0,2 1 8 0,0-1 12 16,1-1 12-16,1 0 8 0,0-1 12 0,0 1 4 0</inkml:trace>
  <inkml:trace contextRef="#ctx0" brushRef="#br0" timeOffset="14869.8505">1788 14607 27 0,'-10'11'36'0,"-2"0"0"0,1-1-4 0,-1-1 0 0,-1 0-4 16,1-2 4-16,0 0-4 0,-1-1-4 0,0 0 0 0,-1-2 0 15,1-1-4-15,-2 0 0 0,1-3 4 0,0 0-12 0,-1 0 4 0,-1-3 0 0,1-1 0 16,-1 0 0-16,0-2 4 0,0 0-8 0,-1-2 4 0,1 0 0 0,-1-2-4 15,0-1 4-15,1-1-8 0,-1 0 8 0,1-2-8 0,-1 0 4 0,0-2-12 0,3-1 16 16,-1-2-12-16,0 1 12 0,1-2-8 0,0-1 4 0,2 1-8 0,-2-3 0 16,4 0 0-16,0 0 0 0,0-1 4 0,3 1 0 0,0-2-4 0,1 0-8 15,3 0 0-15,0 0 0 0,3 0 4 0,0 0 8 0,5 0-12 0,0 0 8 16,2 0 0-16,2 0 0 0,3 1 4 0,1 0-4 0,2-1-8 0,2 3 4 0,2-2 0 15,0 2 8-15,5 0-4 0,0 1-8 0,1 0 4 0,2 1 8 0,2 2-8 16,1 1 0-16,0 0 4 0,3 1-4 0,0 1 0 0,3 2 0 0,-1 0 4 16,3 2-4-16,0 1 4 0,1 0-4 0,1 2 0 0,0 1-4 0,2 1 8 0,-2 1 0 15,0 1 0-15,2 0-4 0,-3 3 8 0,1 1-8 0,-2 0 4 0,0 1 0 16,-1 2 4-16,0 1 0 0,-3 1-4 0,0 0 0 0,-1 3 4 0,-2 0 0 0,0 2 0 15,-2 1 0-15,-2 0 8 0,-1 2 0 0,-1 0 0 0,-3 2 4 0,-1 1-4 16,-2 1 4-16,-3 1 0 0,0 1 4 0,-4 0 0 0,0 3 0 0,-3 1-4 16,-3-1 4-16,0 1-4 0,-1 2 4 0,-3 0-4 0,-1 0 4 0,-2 1-4 15,-3 0 0-15,0 1-4 0,-2 0 0 0,0 0 0 0,-2 0-8 0,-2 0 4 0,-2 0-4 16,0 0 0-16,-2 0 0 0,-1-1 0 0,-2-1 0 0,0 0-4 0,-3-1 4 15,-1 0-8-15,1-2 0 0,-3 0 0 0,-1-2 0 0,0-1 0 0,-1 0-4 0,0-3-4 16,-1-1 4-16,-1 1-4 0,-2-4 0 0,0 1 0 0,-1-3-4 16,0 0 0-16,-1-1 0 0,2-1 0 0,-2-2 0 0,1 1-12 0,0-2-4 0,1-1-12 15,0-1-8-15,1 0-16 0,2-1-12 0,0 1-16 0,1-3-24 0,1 1-12 16,1-2 8-16,1 1 16 0,2-1 12 0,1-1 12 0,2 0 8 0,-1-1 12 0</inkml:trace>
  <inkml:trace contextRef="#ctx0" brushRef="#br0" timeOffset="15626.8938">2789 13356 63 0,'0'-6'76'0,"1"-1"-16"0,-1 1-8 0,0 1-4 0,0-1 4 16,0 1-12-16,1 0 4 0,0 1-12 0,0 1 0 0,0 1 4 16,0 0-4-16,0 1-8 0,0 1 8 0,1 0 4 0,0 3-8 0,1-1 0 0,-1 1 8 15,1 1-4-15,1 0-4 0,0 3 4 0,-1-2-4 0,0 3 0 0,2 0 4 16,-1 2-4-16,1 0 0 0,0 0-4 0,3 2 4 0,-2 0-4 0,0 1 4 0,1 1-4 15,1 0-4-15,-1 1 0 0,1 0-4 0,-1 1 0 0,2 1 0 0,-1 0 0 16,0 0 0-16,0 1-4 0,1-1 4 0,-1 0-4 0,1 0-4 0,0 0 4 16,0 0-4-16,-1-2 0 0,-1 2-4 0,3-3 4 0,-2 1-8 0,-1-1 4 15,1 0 0-15,1-1 0 0,-2-1 0 0,1-1-4 0,-1 0 4 0,1-1 0 0,-1-1 0 16,-1 0-4-16,0-2 0 0,1 0 0 0,-1-1 0 0,0 0-4 0,-1 0-4 15,0-2 0-15,-1 0 4 0,0-1 0 0,1 0-8 0,-1-1 0 0,-1 0-8 0,0-1-8 16,0 0-16-16,-2-1-12 0,2 0-12 0,-3 0-12 0,1-1-4 16,-1 0-8-16,0-1-16 0,-1 0-16 0,-1 0 4 0,0 1 16 0,0-2 12 0,-1 1 8 15,-1-1 12-15,1 1 8 0</inkml:trace>
  <inkml:trace contextRef="#ctx0" brushRef="#br0" timeOffset="16021.9164">3022 14026 27 0,'-1'-3'48'0,"0"0"-4"0,0-1-4 0,1 2 0 0,0-2-4 15,0 0 0-15,0 0-4 0,1 0-4 0,1 1 0 0,0-1 0 0,1 1-4 0,1-1 0 16,0 2 0-16,1-1 4 0,0 1 0 0,1 0-8 0,0-1-8 0,0 2 0 16,1 0 8-16,0 1 0 0,1 0-4 0,0 0 4 0,0 1-4 0,0 0 0 15,1 1 0-15,1 0 0 0,-1-1 0 0,0 1 4 0,0-1-8 0,0 3 0 16,0-2 0-16,-1 1 8 0,1 0-8 0,-2 1 0 0,1 0 4 0,-1-1 0 0,1 2 4 15,-2-2 0-15,-1 2-4 0,0 0-4 0,-1 0 0 0,0 1 0 0,-1-1 0 16,-1 1-4-16,0 1 0 0,-1 0 0 0,-1-1 0 0,-1 1 0 0,0 0-4 16,0 0 4-16,-2-1-4 0,-1 1 0 0,1 0 0 0,0 0 0 0,-1 0 0 0,1-1 0 15,-1 0-4-15,0 2 0 0,0-2 4 0,-1 0-4 0,1 0 0 0,0 1 0 16,1-2 0-16,-1 0 0 0,2 0 0 0,0 0 4 0,-1 0-4 0,1-1 0 0,2-1 4 15,0 0-4-15,0-1 0 0,1 0 0 0,2-2 0 0,-1 0 0 0,1-1-8 16,2 0 0-16,0-2-4 0,1 1 0 0,2-2-8 0,-1 0 4 0,1-1-20 16,0 0-12-16,2-1-16 0,-1 0-20 0,0-1-20 0,1 0-16 0,-1 0 12 15,0-1 12-15,2-1 8 0,-2 1 12 0,1-2 8 0,0 2 8 0</inkml:trace>
  <inkml:trace contextRef="#ctx0" brushRef="#br0" timeOffset="16520.945">3531 13800 35 0,'4'-4'76'0,"0"1"-12"0,-1 0-12 0,0 1-4 0,1-1 0 0,1 2 4 15,-1 0-8-15,-1 1 0 0,0 1-8 0,0 0 0 0,1 1 4 0,-1 0-8 16,0 0 4-16,0 2-8 0,0-1 4 0,0 1 0 0,0 1-8 0,-1 0-4 16,1-1 0-16,-1 2 0 0,1-1 4 0,-1 0-8 0,2 2 0 0,-2-1 0 0,1 0 0 15,1 0 0-15,1 1-8 0,0 0 8 0,-1-1-4 0,1 1-4 0,-1 0 4 16,2-1-4-16,1 0 0 0,-1 1 0 0,-1-1 0 0,2-1-4 0,0 1 0 0,1-1 4 15,-2-1-4-15,2 0 0 0,0 1-4 0,0-3 4 0,1 1 0 0,-1-1 0 16,1 0-4-16,-1 1 4 0,0-2-4 0,1 0 0 0,-1 0 0 0,0 0 0 16,-1 0 0-16,2-1 0 0,-1 0 0 0,-1 0 4 0,-1 1 0 0,1 0 0 15,-2-1 0-15,1 1 0 0,-1 0 0 0,-1 1-4 0,0-1 4 0,-1 0-4 0,0 2 4 16,-1 0-4-16,-1 0 0 0,-1 0 0 0,0 2 0 0,-2-1 0 0,0 1 0 15,0 0 0-15,-1 1 0 0,-1 0 0 0,-1 0 0 0,1 1 0 0,-3 0 0 0,1 0-4 16,-1-1 0-16,0 1 4 0,-2 0-4 0,1 1 0 0,-1-1 0 0,0 0 0 16,-1-2 0-16,-1 3 4 0,1-3-4 0,-1 1 4 0,-1-1 0 0,1-1-4 15,-1 0 4-15,0 0-4 0,-2-1-4 0,2-2 8 0,1 1-4 0,-3-2-4 16,3 0-4-16,-1-2-8 0,1 0 8 0,0-2-8 0,0 1-4 0,1-2-4 0,1-1 12 15,0-1-16-15,2-1 12 0,0 0 0 0,2-2-4 0,0 0 4 0,0-1 8 16,2 1 0-16,2-3 0 0,0 2-4 0,0-1 12 0,3 0-4 0,-1-1 0 16,2 0 8-16,2-1 8 0,0 1-4 0,0 0 4 0,1-1 4 0,1 1 0 0,3 0 0 15,-2 1 4-15,1-1 0 0,1 2 4 0,0-1 0 0,0 1 0 0,1 1 4 16,0 0 0-16,-1 1-4 0,1 1 0 0,0 0 0 0,-1 1 0 0,1 0 0 0,-2 1 0 15,1 1-4-15,0 0-4 0,-1 1 0 0,-1 0 0 0,1 0-4 0,0 1 0 16,-2 0 0-16,1 0 4 0,-1 1-4 0,1 0-4 0,-2 1 0 0,1 0 0 16,-2-1-4-16,0 2 0 0,2-1 0 0,-2 0-4 0,0 1 0 0,0-1-4 15,-1 0 0-15,0 1-4 0,1 0-8 0,-2-1-4 0,1 1-12 0,-1-1-16 0,-1 1-16 16,1-1-16-16,-2 1-36 0,1 0-8 0,-1 0 12 0,-1 0 16 0,0 0 8 15,-1 1 12-15,-1 0 8 0,1 0 8 0</inkml:trace>
  <inkml:trace contextRef="#ctx0" brushRef="#br0" timeOffset="17039.9746">3401 14486 59 0,'-13'6'56'0,"0"0"-8"16,-2-1 0-16,0 1-4 0,-1-1-4 0,2-3 0 0,-4 3 4 0,3-1-8 16,-3-2 0-16,1 0-4 0,0 0-4 0,-2 0 0 0,2-2 0 0,-2-1 0 15,2 0-4-15,-1-2 0 0,-1 0 0 0,2-2 0 0,-2 0-8 0,3-1 0 0,-1-2-4 16,0 1 4-16,1-3 0 0,2 0-4 0,-1-1 0 0,2-1 0 0,0-1 0 15,2 0 0-15,1-3-4 0,0 0 0 0,3-1-4 0,0-1 8 0,1-1-4 0,2 0 4 16,2-3-12-16,-1 1 8 0,3-1 0 0,3-1 0 0,0 0-4 16,2-2-8-16,1 0 8 0,3-1-4 0,3 0 4 0,0-1-4 0,4 0-4 0,1-1 4 15,2 0 0-15,1-1-4 0,3 0 0 0,2-1 4 0,1 1 0 0,2 0-4 16,0 0 0-16,2 0 8 0,1 2-8 0,1 0 0 0,0 2 0 0,1 1 0 0,0 2 4 15,0 0-8-15,2 2 4 0,0 2 4 0,-2 2 0 0,1 1 0 0,0 2 0 16,1 2 0-16,-2 3 8 0,-1 0-8 0,0 1 0 0,-2 5 0 0,0 1 4 16,-1 1 0-16,-2 3-4 0,0 1 0 0,-1 3 8 0,-2 2-8 0,-1 2 0 15,-2 1 0-15,0 2 4 0,-2 1 4 0,-2 1-4 0,0 1 4 0,-2 0 0 0,1 1 0 16,-3 0 4-16,-1 1 0 0,0 0 4 0,-2 1 0 0,0-2-4 0,-2 1 4 15,-1 0 4-15,0 1 0 0,-1-1 0 0,-2 1 4 0,-1-2 0 0,0 1 0 0,-3 1 0 16,0-2 0-16,-1 0 0 0,-2 0 0 0,-1 1-4 0,-2 0 4 16,0-1-12-16,-2 0 4 0,-1 1 0 0,-1-1-4 0,-1 0 4 0,-1 1 8 0,-3 0-12 15,1 0 4-15,-3 0-4 0,1 1 0 0,-2 1-12 0,-1-3 4 0,-1 2 4 16,-1 0 0-16,-1-1-4 0,0 0 8 0,-1 0-16 0,-2-2 4 0,0 1 4 0,0 0 0 15,0-3-8-15,-1 2 8 0,-1-3-8 0,0-1-8 0,1 1 4 0,-1-3-4 16,2 1-4-16,-1-3-8 0,2 1-8 0,-1-3-4 0,1 0-16 0,2-2-12 16,-1-1-4-16,2-1-12 0,2-1-8 0,0-2-24 0,1 0-20 0,2-2 0 0,1-1 12 15,2-1 16-15,2-1 8 0,-1-1 12 0,3-1 8 0,2-1 12 0</inkml:trace>
  <inkml:trace contextRef="#ctx0" brushRef="#br0" timeOffset="18111.0359">5019 13046 63 0,'0'-2'64'15,"0"-2"-4"-15,1 2 0 0,-1-1-16 0,1 1 0 0,-1-1 8 0,1 1-16 0,-1 0 0 16,1 0 0-16,-1 0 0 0,0 1-4 0,1-1-4 0,0 2 4 0,-1 0 0 16,0 0 0-16,0 1-4 0,-1 1 4 0,1 0 4 0,-1 0 0 0,0 2-4 15,0 0 0-15,0-1 0 0,0 3-4 0,0 1 4 0,0-2-4 0,-1 2 4 0,1 2-4 16,-1-1-4-16,0 2 4 0,0 1 0 0,0 0 0 0,-1 0-8 0,0 2 0 15,-1 0-4-15,0 1 0 0,1 1-4 0,-1-1 4 0,0 2-8 0,0-1 4 16,-1 1 0-16,0 1 0 0,1-1-8 0,-1 0 4 0,1 0-4 0,0 0-4 16,0 0 4-16,0 0-4 0,-1-1 0 0,2-1-4 0,-1 2 8 0,0-2-4 0,1-1-4 15,1 0-8-15,-2-1 8 0,2-1 0 0,0 1-4 0,1-3 0 0,-1 0 0 16,-1 0-4-16,2-2-4 0,1-1 0 0,0 1-4 0,0-3-4 0,0 0-4 0,1-1-16 15,2-2-8-15,-2 2-16 0,0-3-12 0,1 0-16 0,0-3-24 0,-1 3-12 16,1-3 16-16,-1-1 12 0,0 2 12 0,1-1 12 0,0-3 8 0,-1 2 8 16</inkml:trace>
  <inkml:trace contextRef="#ctx0" brushRef="#br0" timeOffset="18694.0691">4781 13845 7 0,'2'0'40'0,"1"0"-4"0,0 0 0 0,0 0-4 0,1 0 0 0,1 0-4 0,0 2 0 16,1-2-4-16,1 1 0 0,1 2 0 0,-1-2-8 0,0 1 4 0,3 0 0 15,-2 0-4-15,1 1 0 0,2-1 0 0,-2 1 0 0,2-1 0 0,0 1-4 0,0 0 0 16,1 1 4-16,0-2 0 0,-1 4 0 0,0-3 0 0,2 1 0 0,-2 0 0 15,2 0 0-15,-3 0-12 0,1 1 16 0,0 0-4 0,-1 0-8 0,-1 0 8 0,0 0-4 16,-2 1 0-16,1-1 0 0,-3 1 0 0,1 1-8 0,-1 0 0 16,-1 1 4-16,-1-1 0 0,-2 1 4 0,-1-1-8 0,0 2 0 0,0 0-4 0,-2 0 4 15,-1-1 0-15,-1 2-8 0,-1-1 8 0,0 0 4 0,0 0-12 0,-1 0-4 16,-1 1 12-16,-1-2 0 0,0 0-4 0,0 2 4 0,-1-2 0 0,-1 0 0 0,1 0 4 15,0-1-4-15,-1-1 4 0,1 0 0 0,0 0 0 0,-1-2 0 0,1-1-4 16,0-1-4-16,2 0 4 0,-2-4 0 0,2 1 0 0,2-1-4 0,-1-3 0 16,2 0 4-16,-1 0-4 0,1-2 0 0,3-1 0 0,-1-2 4 0,2 1-4 15,1-3-4-15,0 1 8 0,2-2 0 0,2 0 0 0,-1 0 0 0,1-2-8 0,2 0 8 16,-1 0 4-16,3-2 0 0,-2 1-8 0,1-1 4 0,1 0 0 0,1 0 4 15,0 0 0-15,-1 0 4 0,2 1 0 0,-1 0 0 0,-1 0 0 0,1 0 4 0,-1 2 4 16,0 0 4-16,-1 0-4 0,0 2 4 0,-1-1 0 0,-1 2 0 16,0 0 0-16,-1 1 0 0,-1 2-4 0,0-1 4 0,-3 1 0 0,1 2-4 0,-3-1-4 15,0 1 0-15,-1 1-4 0,-2 3-4 0,-1-1 0 0,0 0 4 0,-3 2-4 16,1 1-4-16,-2 0 4 0,-1 0-4 0,0 1 0 0,-2 1 0 0,1 0-4 0,-1 1 0 15,-1 0 0-15,1 1 0 0,-2 0-4 0,1 0 4 0,0 1-8 0,-1-1 4 16,1 2-4-16,0-1 0 0,1 2 0 0,-2-3-4 0,3 3 0 0,-1-1-4 16,1 0 0-16,0 1-4 0,1-1-4 0,0 1-16 0,2 0 0 0,1 0-4 0,0-2-4 15,0 2-12-15,2-1-8 0,1-1-8 0,0 0-16 0,1 1-28 0,1-1 4 16,1 0 12-16,0-1 8 0,1 0 16 0,0-1 4 0,1 1 12 0,0-1 8 15</inkml:trace>
  <inkml:trace contextRef="#ctx0" brushRef="#br0" timeOffset="19198.0981">4771 14337 43 0,'-8'6'48'0,"0"-1"-4"0,-1 0 0 0,1-1-4 16,0-1-4-16,0 0 0 0,0-2-4 0,0-1 0 0,1-1-4 0,-1-2-4 16,0 0 0-16,1-2-8 0,-1 0 4 0,1-3-4 0,-1 0-4 0,2-3 0 0,-1 1 0 15,1-2-4-15,-2 0 4 0,3-4-4 0,-2 0 0 0,2 1-4 0,-1-3 4 16,0 0-4-16,2 1 8 0,1-3 0 0,0 0-4 0,0 0-4 0,2 0-4 0,0 0 8 15,1-2 4-15,0 0 0 0,1 0-4 0,2 0-4 0,0-1 0 0,1 0 0 16,1-1 0-16,3 1 0 0,-1 1 0 0,1-2 4 0,4 1-8 0,-1 0 12 16,2 0-16-16,2 1 12 0,-1 2-4 0,5-2 8 0,-1 3-8 0,2-1 4 15,3 3-8-15,0-1 8 0,0 2-4 0,1 1-8 0,2 1 12 0,0 2 0 0,2-1-4 16,-1 3-4-16,1 0 8 0,-2 1-4 0,2 3 4 0,1-1-8 0,-1 2 4 15,0 2 4-15,0 1 0 0,-1 2 0 0,1 0 0 0,0 3-4 0,-3 1 4 0,0 1-4 16,1 3-4-16,-1-1 12 0,-2 1-8 0,-1 2 0 0,0 1 0 16,-2 1 4-16,-2 1 0 0,0 1 0 0,-3 1-4 0,0 0 0 0,-2 2-4 0,0-1 4 15,-2 1 0-15,-1 1 0 0,-1 0 4 0,-1 2 0 0,-2-1 4 0,-1 1-4 16,-1-1 4-16,0 2 0 0,-2 0-4 0,-1 1 0 0,-2-2 4 0,-1 3 4 0,-2-1-8 15,0 0 4-15,-1 0-4 0,-1 1 0 0,-2-1 0 0,-2 1 0 0,0 1 0 16,-1-1 0-16,-2 0 0 0,-1 0 0 0,-3 1-4 0,1-1 4 0,-3 0 0 16,1 1-4-16,-2-2 4 0,-1 0-4 0,0 0 0 0,-2-1 0 0,-1-2 0 15,-1-1 0-15,0 1 0 0,2-2-4 0,-3-1 0 0,0-2 0 0,1-1-4 0,-2-1 0 16,2-2 0-16,-1 0 0 0,1-2 0 0,0-1-4 0,0-2 0 0,1-1-8 15,1-1-4-15,0-1-8 0,2-1-8 0,0-2-4 0,2-1-12 0,0 0-8 0,3-2-12 16,-1-1-28-16,3 0-16 0,0-2 0 0,3 0 16 0,1-2 12 0,0 2 8 16,2-3 8-16,2 0 8 0</inkml:trace>
  <inkml:trace contextRef="#ctx0" brushRef="#br0" timeOffset="19971.1423">6102 12957 7 0,'2'1'68'15,"-1"0"4"-15,-1 1-4 0,2-1-8 0,1 1-12 0,-2-1 4 0,1 1-8 0,0 0-12 16,0 1 8-16,0 0-4 0,1 0 4 0,0-1 0 0,0 3 0 16,2 0-8-16,-1-1 0 0,1 0 4 0,0 2 0 0,0 0 0 0,0 0 0 0,1 1-4 15,0 0 4-15,1 0-4 0,0 1-4 0,0 0 0 0,1 0 4 0,1 1-4 16,0 1-4-16,-1 0 0 0,2 0 0 0,0 1 0 0,-1-1-4 0,2 2 0 0,-2-2 0 15,0 2 4-15,0-1-12 0,1 1 0 0,-1-1 0 0,-1 0 4 0,2-2 4 16,-3 1-12-16,2 0 0 0,-2 0 4 0,0-1-8 0,0-1 4 0,0 0-4 16,-2-1 4-16,1 0-4 0,1-1-4 0,-3 0 4 0,1 0 8 0,-1-2-4 0,-1 1-4 15,1-1-8-15,-1-1 0 0,0 1 4 0,0-2 0 0,0 0 0 0,-1 0-4 16,-1-1 0-16,1 1-8 0,-1-1-4 0,-1 0-8 0,1-1-8 0,0 1-20 0,0-1-12 15,-1 0-20-15,0 0-16 0,-1-1-36 0,0 1-16 0,1-2 16 0,-1 0 20 16,1 1 12-16,-2-2 8 0,0 2 12 0,2-2 8 0,-2 0 8 0</inkml:trace>
  <inkml:trace contextRef="#ctx0" brushRef="#br0" timeOffset="20611.1789">6505 13473 15 0,'-1'-5'80'16,"0"-1"-8"-16,0 1-4 0,0 0-12 0,0 0 0 0,0 2-4 0,1-1 0 15,-1 0-8-15,1 1-4 0,0 0-4 0,-1 0 0 0,1 3 0 0,-1-2-4 0,1 2 0 16,-1 2 4-16,0 0 0 0,1 1-4 0,-1 2 0 0,0 0 0 0,0 1 0 15,-1 2-4-15,2 1 4 0,-1 1 0 0,0 0 0 0,0 3-4 0,0 0 0 0,1 1 0 16,-1 1 0-16,0 0-4 0,1 2 0 0,-1 1-8 0,0 0 4 16,1 1-8-16,-1 0 0 0,1 3 0 0,0-3-4 0,0 2-4 0,0 0 0 0,0-2 0 15,0 2 4-15,1-1-8 0,0-1 4 0,1-1 0 0,-1 0 0 0,1-1 0 16,0-2-4-16,0 0 0 0,1-1 0 0,1-1 0 0,-1-1 0 0,1-2 0 0,0 0 0 15,2-1 0-15,-1-2-4 0,0-1 4 0,1-2 0 0,-1 0-4 0,3-2 4 16,-2-1 0-16,0-1 0 0,1-1-4 0,-1-2 4 0,2 0-4 0,-2-1 0 16,1-2-12-16,0 1 16 0,1-2 0 0,-2 0-4 0,-1 0 4 0,1-1 0 15,-1-1 0-15,0 1 0 0,1 0 0 0,-2-2 4 0,-1 2-4 0,0-2 0 0,-1 0 0 16,0 2 0-16,-1-2 0 0,-1 1 0 0,0 1 0 0,-1-1 0 0,0 2 0 15,-2-2 0-15,0 2 0 0,0 0 0 0,-1 1 4 0,-2 0-4 0,1 0 0 0,-1 2 0 16,0 0 0-16,-1 1 0 0,-1 1 0 0,0 1 0 0,1-1 0 16,-1 2-4-16,-1 0 4 0,0 2 0 0,0 0-4 0,1 1 0 0,-1 0 0 0,1 1 0 15,0-1 0-15,-2 2 0 0,3-1 0 0,0 2 0 0,0-1-4 0,1 0 0 16,-2 1-4-16,2 0 4 0,1 0-4 0,1-1-4 0,-1 1 0 0,2-1 0 0,-1 1 0 15,1-1-8-15,1 0-4 0,0 0-8 0,1-1 4 0,1 0-12 0,0-1-4 16,0 0-8-16,2-1-8 0,0-1-12 0,0 0-16 0,1-1-4 0,0-2-12 16,1 1 8-16,0-1 12 0,0-1 12 0,1 0 4 0,0 0 12 0</inkml:trace>
  <inkml:trace contextRef="#ctx0" brushRef="#br0" timeOffset="21010.2017">6649 13764 51 0,'13'-4'48'0,"2"0"0"0,-1 0-4 16,1 0-4-16,0 2 0 0,0-1 4 0,0 1-8 0,1 0-8 16,-1 2-4-16,1-1 4 0,0 0-4 0,0 2-4 0,-1-1 0 0,1 1 0 0,-1 1-4 15,1 0 4-15,-2 1 4 0,1-1-8 0,-1 1 0 0,1 0 0 0,-2 1 0 0,1 1-4 16,-1 0 0-16,0 0-8 0,-2 0 12 0,0 1-4 0,1 0 4 0,-3 1-4 15,0 0 0-15,-1 1-4 0,0-1 0 0,-1 1 4 0,-1 1 0 0,-2-1-4 16,1 0 4-16,-1 1 0 0,-2 1-8 0,0-2 4 0,0 2 0 0,-2-1 0 16,-1-1 0-16,0 1-4 0,-1-1 0 0,0 1-4 0,-2-1 8 0,-1 0 0 0,1-1-4 15,0 2 4-15,-1-3 0 0,0 0-4 0,-2 0-4 0,0-1 8 0,2-1 4 16,-2-1-8-16,0 0 4 0,0-2 0 0,0 1-4 0,2-2 0 0,-2-2 0 0,1 1-8 15,0-2 8-15,1 0 0 0,1-2 0 0,-1-1-4 0,2 1-4 0,0-2 0 16,0-2 0-16,2 1 4 0,-1-1-4 0,0-1-4 0,2-1 0 0,2 1 4 16,-1-3 0-16,1 2 8 0,0-1-4 0,1 0 0 0,0-1 4 0,1-1-4 15,1 1 8-15,0-1-8 0,2 2 8 0,-2-2-4 0,1 0 4 0,1 0-8 0,-1 1 4 16,2 0 4-16,-2 0 0 0,2 1 4 0,-2 1 0 0,0 0 0 0,1 0 0 15,-1 1 4-15,0 1 0 0,0 0 0 0,-1-1 8 0,0 3 0 0,0-1 4 0,-1 1 4 16,-2 0 0-16,1 0 0 0,-1 2-4 0,0 0-16 0,-2 0 12 16,0 0 0-16,-1 3-12 0,-2-1 0 0,1 0 0 0,-1 2-8 0,-2-1 12 0,0 1-12 15,-3 1 0-15,2 1-4 0,-2 1-4 0,-1 0 4 0,-2 0 8 0,2 1-4 16,-2 1-8-16,-1-1 4 0,-1 1-4 0,0 1 0 0,0 0-4 0,-1 0 0 0,0 1 0 15,1 0 0-15,-2-1-4 0,1 1-8 0,0 0 0 0,0 1-8 0,-1 0-12 16,3-1-8-16,-2 1 4 0,1-1-16 0,2 1 0 0,-2 0-12 0,3-1-4 16,-2 0-12-16,2 0-12 0,1-1-20 0,0 1 8 0,1-2 8 0,0 1 16 15,2-1 8-15,0-1 4 0,0 1 12 0</inkml:trace>
  <inkml:trace contextRef="#ctx0" brushRef="#br0" timeOffset="21570.2338">6253 14134 23 0,'-15'-9'64'0,"-1"-1"-12"0,2-7 0 15,-1 6-8-15,2-3 4 0,0-1-16 0,2-1 0 0,1-3 0 0,1 1-4 16,1-1-4-16,2-1 4 0,1-1 0 0,2-1-4 0,2 0-4 0,1 0-4 16,1-1 8-16,1-1-16 0,3-1 8 0,1 0-4 0,1-1 4 0,3 0-8 15,1-1 0-15,0 1 4 0,5-1 0 0,-1 0 0 0,4 1-4 0,1-1 4 0,1 0-8 16,2 2 0-16,3 0 8 0,1 0-4 0,2 0-8 0,2 1 8 0,1 1-4 15,2 3 4-15,0-1 0 0,2 2-8 0,0 2 0 0,2 0 4 0,0 2 8 0,0 1-12 16,0 3 4-16,-1 0 0 0,3 4 0 0,-2 0-4 0,-1 3 4 16,1 0-4-16,-1 4 4 0,-1 0-8 0,0 4 12 0,-2 0-12 0,0 2 12 0,-1 2-4 15,-1 2 0-15,-1 2 0 0,-2 2 0 0,-1 1 4 0,-1 1-4 0,-2 2-8 16,-1 1 8-16,-4 1 0 0,0 1 0 0,-3 1 0 0,0 0 0 0,-3 2 4 0,0 1 0 15,-2-2-4-15,-1 3 4 0,-3-1-4 0,-1 1 8 0,0 0 0 0,-1 0-4 16,-2 1 4-16,-2 0 4 0,0-1-4 0,-1 0 0 0,-2 0 0 0,-1 1-4 16,-1-2 0-16,0 2 0 0,-4-1 0 0,1-1 0 0,-1 1 0 0,-2-1 0 0,-2 0 0 15,0-1 0-15,-1 1-4 0,-2-1 4 0,0 1-4 0,-2-1 4 0,-1-2-4 16,-1 2 0-16,-1-2 0 0,0 0 0 0,-2 0 0 0,-2-2 0 0,2 0 0 15,-3 0-4-15,1-2 0 0,-3-1 0 0,1 0 0 0,0-3 0 0,-1 0 0 0,-1-1-4 16,0-2 0-16,0-1 0 0,1-2 0 0,-2-1-4 0,3-1-4 0,-1-1-4 16,0-3-8-16,1-1-4 0,1-1-8 0,1 0-8 0,0-2-4 0,1-1-12 15,1-1-16-15,1-1-16 0,0 0-24 0,2-1 8 0,0-1 12 0,0-1 12 0,3 1 4 16,-1-1 12-16,1 0 8 0</inkml:trace>
  <inkml:trace contextRef="#ctx0" brushRef="#br0" timeOffset="22784.3031">1543 15266 3 0,'0'-7'40'0,"-1"0"4"0,1 0-4 0,1 0-4 16,-1 1 0-16,1-3 0 0,-1 2 0 0,1 0 4 0,0 0 4 0,0 0-8 0,0 0 4 16,-1 0-8-16,1 0 4 0,-1-1-4 0,0 3 4 0,1-1 0 0,-1 0 4 15,0 1-8-15,0 0 8 0,-1 0 0 0,1 3-8 0,-1-1-4 0,0 1 0 0,0 0 0 16,-1 2-4-16,1 2 0 0,-2 0-4 0,1 2-4 0,-1 1 0 0,0 1 0 15,-1 2-4-15,0 1 0 0,-1 1 0 0,0 2-4 0,-1 0 4 0,1 2-4 16,-1 0 0-16,0 2-4 0,-2 2 4 0,2 0-4 0,-1 0-4 0,1 2 4 16,-3 0 0-16,2 1-4 0,-1 0 4 0,1 3-4 0,-2-1 4 0,1 0 0 0,1 0-4 15,-1 1 0-15,0-1-4 0,1 1 4 0,0-1-4 0,0-1 0 0,1-1 0 16,0 0 0-16,0-1 0 0,1-2-12 0,0-1 0 0,1 0-4 0,-1-2-12 0,2-1-4 15,0-1 0-15,1-1-8 0,0-1-4 0,0-1-8 0,1-2-4 0,0-1-20 16,0-1-20-16,1-1-8 0,0 0 8 0,0-3 16 0,0 0 8 0,1-1 8 16,0-1 8-16</inkml:trace>
  <inkml:trace contextRef="#ctx0" brushRef="#br0" timeOffset="23181.3259">1102 16101 47 0,'-7'8'56'0,"2"0"-8"0,-2 0 0 0,1-2-8 0,1 1-4 16,0-1 8-16,1 0-12 0,-2-1 4 0,2 0-4 0,0 0-8 0,0-1-4 16,1 0 0-16,0 0-4 0,0-1 4 0,1-1-8 0,-1 0-4 0,2 1 4 0,-2-2 4 15,2 1 0-15,0-2-8 0,0 1 4 0,1-1 0 0,1 0-8 0,1 0 4 16,1 0 0-16,-1 0 4 0,1 0 0 0,1 0-4 0,1 0-4 0,-1 0 0 0,1-1 4 15,2-1-4-15,0 1-4 0,-1 0 4 0,1-1-4 0,1 0 0 0,0 0 8 16,1-1-8-16,0 1 12 0,1-1-8 0,0 0 4 0,0-1-8 0,1 1 4 16,-1-2-4-16,0 3 4 0,1-1-4 0,-1 0 8 0,0-1-4 0,1 2 4 0,-2-1 0 15,0 1 0-15,1 0 0 0,-1 0 4 0,0 1 4 0,-1 1-8 0,1 1 8 16,-2 1-4-16,0 2-4 0,-1-2 4 0,0 3 0 0,-1 0-4 0,0 2 0 0,-1 1 0 15,0 0 4-15,-2 1 0 0,1 1 0 0,-2 2 0 0,1 0 0 16,-1 0 0-16,-1 2-4 0,1-1-4 0,0 2 4 0,-1 0 0 0,2 0-4 0,-2 1 0 16,0 0 0-16,0-1 0 0,0 1 0 0,0-1 0 0,-2 0-4 0,2 0 4 15,0-1-4-15,-1 0 4 0,1-1-4 0,-1-1-4 0,1-1 0 0,0-1 4 0,0 0 0 16,0-2-8-16,0 1 0 0,1-2 0 0,0 0 0 0,2-1-4 0,-2 0 4 15,0-2 4-15,0-1-16 0,1 0 0 0,-1-1-8 0,1 0-4 0,-1-1-12 16,0-2-8-16,1 0-12 0,0 0-16 0,-1-3-24 0,1 2-4 0,0-1 8 16,-1-3 12-16,1 1 12 0,0-1 12 0,-1 1 4 0</inkml:trace>
  <inkml:trace contextRef="#ctx0" brushRef="#br0" timeOffset="23512.3448">1580 16118 75 0,'1'1'72'0,"1"2"-12"0,-2-2 0 0,1 1-4 16,-1 0-16-16,1 0 8 0,0 0-12 0,-1 0 0 0,1 1 0 0,-1-1-4 15,0 0 0-15,0 1 0 0,0-1-4 0,0 0 0 0,0 0 4 0,1 1-8 0,-1-1 8 16,1 1 0-16,0 0 0 0,-1 0 0 0,1 1 0 0,0 1 0 0,-1-2-4 15,2 2 4-15,0 1 0 0,-1-1-4 0,2 1 4 0,-1 2 0 0,0 0-4 16,0 1-4-16,1-1-4 0,-1 2 4 0,2 0-12 0,-2 2 8 0,1 0 0 16,-1 1-8-16,1 0 4 0,0 1-8 0,0 1 8 0,0 0-8 0,0 1 4 0,0-1-8 15,-1 2 8-15,3-2-8 0,-3 2 4 0,1-1-4 0,-1 0 4 0,1 0-8 16,-1-2 0-16,1 1 0 0,-1-1-4 0,0 0 4 0,0-1 0 0,1-1-4 0,-2 0 0 15,1-1-4-15,0 0 0 0,1-2 0 0,-1 0-4 0,-2-2 4 16,2 2-4-16,0-4-4 0,-2 1-4 0,2-2 0 0,-1-1-16 0,0 0-8 0,-1-2-4 16,1-1-12-16,-1-1-16 0,0-2-8 0,1 1-20 0,-2-1-28 0,1-2 4 15,-1 0 16-15,0 0 16 0,-1 0 8 0,1-1 12 0,-1-1 8 0,0 2 8 0</inkml:trace>
  <inkml:trace contextRef="#ctx0" brushRef="#br0" timeOffset="24019.3738">1250 16725 43 0,'-19'2'36'0,"0"-2"4"0,-1 0-8 15,0-1-4-15,0-1 0 0,0 1 0 0,-1-3 0 0,1 2-4 0,-1-2-4 16,-1-1 0-16,3-1 0 0,-1 1-4 0,-1-1 0 0,2-2 0 0,0 0 0 0,0 0 0 15,2-2-4-15,0 0-4 0,0-1 0 0,2-1-4 0,0 1 0 16,1-1 0-16,1-1 0 0,0-1 4 0,3 2-4 0,0-2 4 0,2 0-4 0,-1 0 4 16,3 0-4-16,0-1 0 0,2-1 0 0,1 0 0 0,1 1 4 0,2-2-8 15,0 0 4-15,2 0 0 0,2-1 0 0,1-1 0 0,0 0 0 0,3-1 0 0,2 0 0 16,0 0 0-16,2-1 4 0,2-1-4 0,1 1 0 0,2-1-4 0,0 1 4 15,4-1 0-15,0 0 0 0,3 0-4 0,0-1 0 0,3 3 4 0,0-3 0 16,2 2 0-16,2-1 0 0,-1 2 0 0,2-1-4 0,1 1 0 0,-1 2 0 16,1-1 4-16,0 2 0 0,1 0 0 0,-1 3-4 0,2-1 8 0,-1 3 0 0,-1 1-4 15,0 0 8-15,0 3-12 0,-1 0 12 0,1 4-12 0,-2 1 8 0,-1 1 8 16,0 3 0-16,-1 2-4 0,-2 2-4 0,0 0 4 0,-4 5 0 0,1-1 4 0,-2 3 4 15,-2 2 0-15,-1 2-4 0,-1 1 0 0,-2 2-8 0,1 1 4 16,-4 0-4-16,1 3 4 0,-3 0 0 0,1 1 4 0,-1 2 0 0,-2-1 0 0,-1 1-4 16,0 2 4-16,-1-1 0 0,-2 0 0 0,-1 2 0 0,0-1 0 0,-1 0 4 15,-1 0 0-15,1 1 0 0,-3-1 0 0,0 1 0 0,-1 0 4 0,-1-2 0 0,-1 0 8 16,0 0-4-16,-1-1-8 0,-1-1 4 0,-1 0 0 0,0-2 0 0,-2 0-4 15,0-2-4-15,-1 1-4 0,-1-2-4 0,0-1-4 0,-1 0 8 0,-1-1-4 16,0-1 4-16,-1-1 0 0,-2-2-8 0,1 1 0 0,-3-2 0 0,2-1-12 0,-3-2 16 16,-1 0-16-16,1 0 4 0,-3-3 0 0,1 0 0 0,-1-2 0 0,-1-2-4 15,-1 1-4-15,1-3 0 0,-2 1-4 0,0-2 0 0,0 0-8 0,2-2 0 0,-1 1-4 16,0 0-12-16,1-2-8 0,2 0 0 0,-1-1-16 0,1 0-8 0,2 0-8 15,0-2-20-15,2 1-20 0,0-1-8 0,2 0 12 0,1-1 12 0,1 1 12 16,1-1 12-16,2-1 8 0,2 0 12 0</inkml:trace>
  <inkml:trace contextRef="#ctx0" brushRef="#br0" timeOffset="24532.4032">2436 15211 23 0,'-2'-3'64'0,"1"0"-12"0,-1 2-4 0,1-2-4 0,1 3-4 15,0 0-4-15,2 0-8 0,0 3 8 0,-1-2-8 0,3 2 8 16,-1 1-16-16,2 2 12 0,0-1-4 0,0 2-8 0,0 0 4 0,1 0 4 0,2 1 0 16,-1 2-4-16,0-1 0 0,2 1-4 0,-1 0 4 0,1 0 0 0,0 1-4 15,0 0 0-15,3 0-12 0,-2 1 12 0,1 0-8 0,1 0 0 0,-1 0 0 0,2 0 0 16,-2 1 0-16,1-1 0 0,0 0-4 0,-1-2 0 0,1 1 0 0,-1 0-4 15,-1-1 0-15,0-1 4 0,-1-1-8 0,0 1 0 0,-1-1 0 0,0-1 8 16,0-1-8-16,-2 0-4 0,1 0 0 0,-1-1 4 0,-1 0 0 0,0-1-8 16,-1 0 0-16,0 0-4 0,0-2-4 0,-2 1-8 0,1-1-12 0,-2 0-16 0,2-1-20 15,-1 1-24-15,-2-2-16 0,0 0 8 0,0 0 12 0,0 0 12 0,-2 0 8 16,-1-1 8-16,2 1 8 0</inkml:trace>
  <inkml:trace contextRef="#ctx0" brushRef="#br0" timeOffset="25107.4361">2756 15836 39 0,'-1'0'60'0,"0"0"-4"0,0 1 0 0,1-1 4 0,-2 1-16 0,0 0 8 15,1 1-12-15,1 0 8 0,-1 1 0 0,-1 1-8 0,1 0 8 0,1 1-8 16,-1 1 0-16,1 1 4 0,0 1-4 0,0 0 0 0,-1 1-4 0,1 1-4 16,0 0 0-16,0 1-4 0,1 0 0 0,-1 1-4 0,1-1-4 0,0 2 4 0,1-1-4 15,-1 1 0-15,1-1-4 0,1 1 0 0,1-1 0 0,-1 0 0 0,1 0-4 16,0 0 0-16,0-2 0 0,1 1 0 0,0-1 0 0,2-1 0 0,-1 1 0 0,-1-2 0 15,2-1 0-15,-1 0 0 0,2 0-4 0,-1-2 0 0,1 0 0 0,-1 0 0 16,1-2 0-16,1 0-4 0,-2 0 0 0,1 0 4 0,1-2-4 0,-2 1 0 16,0-1 0-16,2 0 0 0,-3-1 0 0,1 2 4 0,-1-2-4 0,0 1 8 15,1-1 0-15,-1 1-12 0,-2 1 16 0,1-2-12 0,-1 1 4 0,0 0 0 0,-1 1 0 16,1 1-16-16,-2-1 12 0,-1 1 4 0,0 1-4 0,-1 1 8 0,0-2-8 0,-1 3-8 15,-2-1 0-15,0 0 8 0,0 1 4 0,-1 0 0 0,0 1-12 16,-1-1 4-16,0 1 4 0,-1-1 0 0,-1 1-4 0,1 0-8 0,-2 1 4 0,1-2 0 16,-2 0 0-16,0 1-4 0,0-1 0 0,-1 1 4 0,1-3-4 0,-2 1 4 15,0 0-8-15,0-1 4 0,0-1 0 0,-2-2 0 0,2 1-4 0,0-1-4 0,-1-1 0 16,0-2-4-16,1 0 0 0,0-1-4 0,0-1-4 0,1-1-8 0,1-1 4 15,0-1-4-15,1-2 0 0,-1 1 4 0,3-2-4 0,0-1 8 0,0 0 0 16,2-1 12-16,-1 0-4 0,2-2 0 0,1 1 0 0,1-1 12 0,1-2 0 16,1 2 4-16,1-3 0 0,0 3 0 0,1-2 4 0,2 1 0 0,0-1 4 0,0 1 4 15,2 0 0-15,-1 0-4 0,2 1 4 0,0-1 0 0,-1 2-4 0,2 0 4 16,1 1 0-16,-2 0 4 0,1 1 4 0,0 1-4 0,0 0 0 0,-1 0 0 0,1 2 0 15,0 0 0-15,0 0-4 0,-1 2 0 0,1 0 4 0,-1 0-4 0,0 1 0 16,-1 1 4-16,1-1-4 0,0 2 0 0,-1-1 0 0,0 1 0 0,1-1-4 16,-1 2 4-16,-1-1-4 0,0 1-4 0,0-1 0 0,1 2-4 0,-1-1 0 15,0-1 0-15,-1 2-4 0,0 0-4 0,-1-1-8 0,2 0 0 0,-2 1-8 0,0-1-4 16,1 0-8-16,-2 2-12 0,-1 0-12 0,1-1-12 0,-1 2-20 0,0-1-20 15,1 0 4-15,-3 2 12 0,0 0 16 0,0 0 8 0,0 1 8 0,-2-1 8 16</inkml:trace>
  <inkml:trace contextRef="#ctx0" brushRef="#br0" timeOffset="25412.4535">3090 15876 35 0,'10'-3'68'0,"0"2"0"0,-1-1-16 16,2 0 8-16,-1 1-4 0,0 0-4 0,0 0-8 0,-1 1 0 0,0 0-4 0,0 0 0 15,0 1 0-15,-1 0-4 0,-1 0-8 0,3 1-4 0,-3 1 0 0,0-1-4 16,0 1 0-16,0 0 4 0,0 0-4 0,0 1-4 0,-2 0 8 0,2-1-8 0,0 2 0 15,-2 0 4-15,1-1-4 0,1 2 0 0,-2-1 4 0,2 1 0 16,-1-1-4-16,-1 0 4 0,0 1-4 0,-1 1 4 0,-1-2 0 0,1 2 0 0,0 0 0 16,-3 0-4-16,1 0 4 0,-1-1-8 0,-1 2 8 0,1 0 0 0,-2-2 0 0,1 2-8 15,-2-1 4-15,0-1 4 0,0 1-4 0,-2 0-4 0,2 0 0 0,-1-1-4 16,0 0 4-16,0 0-4 0,0 0 0 0,0-1-8 0,0 1 4 0,1 0 4 15,-2-1-4-15,2-1 0 0,-1 1 0 0,2 0 4 0,-1-1-4 0,1 0-4 16,1-1 0-16,0 0 4 0,1-1-4 0,1 0 0 0,1-1 4 0,0-1-4 0,1 0-4 16,0-1-4-16,1 0 0 0,2-1-4 0,-1 0-4 0,2-1-4 0,0-1-4 0,0 1-8 15,2-2-12-15,-2 0-4 0,1 1 4 0,0-2-16 0,1 1-4 16,0-1-8-16,-1 1-4 0,1 0-12 0,-1 0-24 0,-1-1-12 0,1 0 16 0,-1 1 12 15,-1 0 8-15,0 1 12 0,-1 0 8 0,1-1 8 0</inkml:trace>
  <inkml:trace contextRef="#ctx0" brushRef="#br0" timeOffset="25894.4811">3088 16566 11 0,'-14'13'68'0,"-2"0"-12"0,2-1 0 15,-2-1-8-15,2-1-4 0,-2-2 0 0,1 0-8 0,1-2-8 0,-2-1 4 0,1 0-4 16,-2-3-4-16,3 0-8 0,-3-2 0 0,1-2 4 0,0 0 4 0,-1-3-4 16,1 1-4-16,-1-3 4 0,-1-1 0 0,1 0 0 0,-1-2-4 0,0-1-4 0,-1-1 4 15,1 0 0-15,-2-1 4 0,2 0-12 0,-2-3 8 0,0 1 4 16,2-1-4-16,-2-1 4 0,1 0-4 0,1-2 0 0,0-1 0 0,1 3-4 0,0-3 0 15,2-2 0-15,0 1-4 0,1-1 0 0,2 0 4 0,1-1-4 0,3 0 0 16,-1-1 4-16,4-2-4 0,1 0 0 0,3 0-4 0,2-2 4 0,2 1 0 0,2-1 0 16,3 0-4-16,1-1 0 0,3 0-4 0,3-1 4 0,2 1-4 0,2-1 0 15,4 1 4-15,0-1-4 0,4 1 0 0,1 2 4 0,3-1-8 0,2 0 8 16,2 1-4-16,1 2 0 0,2-1 4 0,1 3-4 0,0-2 4 0,3 4-4 0,-1 1 0 15,0 1 0-15,1 3 4 0,-1 1 0 0,0 3 0 0,1 0 4 0,-3 3-4 16,1 3 4-16,-1 1-4 0,-1 2 0 0,-1 3 0 0,-1 1 0 0,-2 2 4 0,-1 3-4 16,-1 1 4-16,-1 1-4 0,-2 3 4 0,-3 0 0 0,0 2 0 0,-3 2 8 15,-2 2 0-15,-2 0 4 0,-2 2 4 0,-2 2 0 0,-2 0 4 0,-1 1 0 16,-3 1-8-16,0-1 4 0,-3 3 0 0,-1-1 4 0,-2 2-4 0,-1-1-4 15,-1 2 0-15,-2-2-4 0,-1 1 4 0,-1 0-8 0,-2 1 4 0,-2-1-8 0,-1 0 0 16,-2 2-4-16,-1-3 4 0,-2 1 0 0,-1 0-4 0,-2 0 0 0,0-1 4 16,-3 0-4-16,-2-1-8 0,0 0 0 0,-2-2 0 0,-2-1 0 0,0-2-8 0,-3 1 0 15,2-3 4-15,-2 0-12 0,-1-2-4 0,0-1-8 0,0-2-8 16,-1 0 0-16,1-4-16 0,0 1 0 0,1-3-16 0,0-1-8 0,1-1-8 0,3-1-16 15,-2-3-20-15,2-2-12 0,2-1 16 0,0-1 12 0,3-2 12 0,1 0 8 16,3-2 12-16,0-2 8 0,2 0 8 0</inkml:trace>
  <inkml:trace contextRef="#ctx0" brushRef="#br0" timeOffset="29896.71">1416 15007 27 0,'-1'-5'64'0,"-1"1"-4"0,1 0 0 0,-1 0-12 16,1 1 4-16,-1-1 4 0,0 0-4 0,1 1 0 0,-1-1 4 0,0 1-4 0,1 0-4 15,-2 0 0-15,1 0-4 0,1 1 0 0,-1-1-4 0,0 0 0 0,0 1 0 16,0-1-8-16,1 1 0 0,-2 0-4 0,2 0 0 0,-1 0-4 0,0 0-4 0,2 1 0 16,-2 1 0-16,1-3-8 0,0 3 0 0,1-1 0 0,0 0-4 15,0 1 0-15,0 0 4 0,1-1 0 0,0 1-8 0,0-1 4 0,0 1-4 0,-1 0 4 16,2 0 4-16,0 1-8 0,-1 0 4 0,2-1 0 0,-2 1-4 0,3 0 0 15,-2 0 0-15,1 1 0 0,2-1 0 0,-2 1 4 0,1 0-4 0,0 0 0 0,1 0-8 16,0 0 8-16,0 1 0 0,2-1-4 0,-1 0 0 0,1-1 4 0,-1 2-4 16,4-2 4-16,-3 1 0 0,1 0-4 0,0 0-4 0,2-2 8 0,-1 1 0 15,1 1-4-15,1-1 0 0,0 0 0 0,-2-1 0 0,3 0 4 0,-1 0-4 16,-1 0 0-16,2-1-4 0,-1 0 8 0,0 1-4 0,1-2-4 0,-2 1 4 0,3-1 4 15,-2 1-4-15,0-1 0 0,1 0 0 0,-2 1 0 0,1-1 0 0,1 1 0 16,-1-1 0-16,-1 2 0 0,2-2 0 0,-3 2 8 0,1 0-8 0,1 0 4 0,-1 0 0 16,0 0 4-16,0 1-8 0,-1 0 4 0,-1 2 0 0,2-1 0 15,-2 1 4-15,0 0-4 0,1 0-4 0,0 1 8 0,-1 1-8 0,0-2 4 0,1 2 0 16,-1-1 4-16,0 1-4 0,0 0 8 0,1-1-4 0,-1 1-4 0,1-2 4 15,0 2 4-15,2-1 0 0,-2-1 0 0,0 0-4 0,2-1 0 0,0 1 0 0,-1-1 0 16,3-2-8-16,-2 0 0 0,3-2 4 0,-1 1 4 0,0-1 0 0,1-2 0 16,0 1 0-16,1-2-4 0,0 0-8 0,0-2 8 0,1 2 4 0,0-3-4 15,-1 1 0-15,2 0 0 0,0-2 0 0,-1 1-4 0,1 0 4 0,-1-1-4 16,1 0 4-16,-1 0 4 0,1-1 0 0,-1 2-12 0,0 0 4 0,0-1 0 0,0 1-8 15,-1 0 12-15,1 1 4 0,-1 0-8 0,-1 0-4 0,0 1 8 0,0 0-12 16,0 0 12-16,0 2 0 0,-2 0-8 0,0 0 4 0,1 1 0 0,-2 0-4 0,2 1 12 16,-3-1-4-16,1 1-4 0,0 1 4 0,-1-1 0 0,-1 2-4 0,1 0 0 15,-1-1 0-15,0 1 4 0,-1 1-4 0,1-1 4 0,-1 0-4 0,0 1 0 16,-2-1 8-16,3 1-4 0,-4 0-8 0,2 0-4 0,-1 0 4 0,-1 0 8 0,2 1-8 15,-2-1 0-15,0 0 0 0,0-1-8 0,-1 1-4 0,1-1 0 0,0 2-16 16,-1-2-24-16,-1 1-36 0,1 0-40 0,-1-1-48 0,0 0 16 0,0 1 16 0,-2 0 16 16,1 0 12-16,-2 1 12 0,0 0 16 0,-1 1 8 0,-1-1 8 15,1 2 12-15</inkml:trace>
  <inkml:trace contextRef="#ctx0" brushRef="#br0" timeOffset="34215.9571">1724 14268 11 0,'-6'-2'20'0,"0"0"0"0,1 0-4 0,-2-1 0 0,2 2 4 0,0-2-8 16,0 1 4-16,1-1 0 0,-1 0 0 0,0 0-4 0,1 0 4 15,0 1-4-15,1-1 4 0,-1 0-4 0,0 0 0 0,0 0 0 0,1 1 0 0,-2-2 0 16,2 2 0-16,-1-1 0 0,0 1 0 0,1-1-4 0,0 1 4 0,0 0 0 16,-1-1-4-16,0 1-4 0,1 0 4 0,-1-1 0 0,0 1 0 0,1 0 0 0,0 0-4 15,0 1 4-15,-1-2 0 0,0 2 0 0,0-1 0 0,1 0 4 0,-1 0-4 16,0 1 4-16,1-1 0 0,0 0-4 0,-1 0 8 0,0 1-4 0,1-1 4 15,-2 1-4-15,1 0 0 0,1-1 0 0,-2 1 0 0,1-1 4 0,1 2-8 16,-1-2 8-16,-1 0 0 0,2 1 4 0,-1 1 0 0,-1-1-4 0,2 0 0 0,-1 0 0 16,0 1-4-16,0 0 4 0,0-2 4 0,-1 2 0 0,1 0 0 0,0-1-12 15,0 1 12-15,0 0 4 0,0 0-4 0,-1 0 0 0,1 0 0 0,0 1 0 0,0-1-4 16,0 0 0-16,-1 2 0 0,1-2 0 0,1 0-4 0,-2 1 0 0,1 0-4 15,0 0 4-15,0-1 0 0,0 0-4 0,1 1 4 0,0 0 0 0,0 0 0 16,-2-1 4-16,3 0-4 0,-1 0 0 0,1 0 0 0,-1 0-4 0,2 2 4 0,-1-2 0 16,1 0-4-16,-1 0 0 0,1 0 0 0,1 0 0 0,0 0 4 0,0-2-4 15,1 2 0-15,1-1 0 0,-1-1 4 0,2 1 0 0,1-1-4 0,0 0 0 0,2 0 4 16,0-1-4-16,1 1 0 0,0 0 0 0,3-1 4 0,-1 0-4 15,2-1 0-15,1 2-8 0,-1-1 8 0,1 0-4 0,2 0 4 0,0 0-8 0,1 1 12 16,1-1-4-16,0 1-4 0,1-2 8 0,0 2 4 0,1-1-4 0,1 1 4 16,2 0-8-16,-2-1 0 0,2 1 8 0,1-1-8 0,-2 0-4 0,2 1 4 0,0-1-4 15,1 1 8-15,-2-2 0 0,2 2-4 0,1-1 0 0,-1 0 4 0,-1 1 0 16,1-2 0-16,0 1 0 0,-1 0 0 0,1 0 0 0,0 0-4 0,-2-1 0 15,0 2 4-15,1-1 4 0,-2-1-4 0,-1 1-4 0,1-1 4 0,-1 1 0 16,-2 0-4-16,2-1 0 0,-4 1 0 0,2 0 4 0,-3 1-4 0,1-1 0 0,-3 0 0 16,0 1 0-16,0-1 4 0,-2 1-4 0,0 2 4 0,-1-3 0 0,-2 3 0 15,0 0 0-15,-2-1 0 0,1 0 0 0,-2 1 0 0,0 0 0 0,-1 0 0 0,-1 0 0 16,1 0 0-16,-2 0 0 0,1 0-4 0,-1 0-4 0,-1 0 0 15,1 0 0-15,-1 0 4 0,1 0-4 0,-1 0 0 0,0 0 4 0,0 0-4 0,0 0 0 16,0 0 0-16,1 0-4 0,-1 0 0 0,1 0 4 0,0 0 0 0,0 0-4 16,1 0 0-16,-1 0 0 0,0 0 0 0,1 0-4 0,-1 0 0 0,0 0 0 0,1 0 0 15,-1 0-4-15,1 0-4 0,0 0 0 0,-1 0-4 0,2-1-4 0,-2 1-16 16,1 0-12-16,0 0-4 0,0-1-12 0,0 0-20 0,-2 1-8 0,2 0-24 15,-2-1-8-15,0 1-20 0,-1 0-28 0,0 0 8 0,-2 1 16 0,1 0 20 16,-2 1 16-16,0-1 12 0,-1 0 12 0,-2 2 8 0,-1-1 8 0,0-1 12 0</inkml:trace>
  <inkml:trace contextRef="#ctx0" brushRef="#br0" timeOffset="35255.0165">281 13772 23 0,'1'-1'76'16,"0"0"-12"-16,0 0 0 0,0 0-20 0,-1 1-4 0,0 0 8 0,1-2-4 0,0 2-8 15,-1 0 0-15,1 0-12 0,-1 0 4 0,2 2 4 0,-2-1-4 16,0 0 4-16,0 0 0 0,0 1-4 0,0 0 0 0,0-1 0 0,0 2 0 0,-2 0-8 15,4 0 0-15,-2 1-4 0,0 0 4 0,0 0-4 0,1 1 0 0,1 0 0 16,0 1 0-16,-1 0-4 0,2 1 4 0,-1 0-4 0,1 1 0 0,1-1 0 0,0 2 0 16,1-1-4-16,1 1 0 0,-2 0 0 0,2 1 0 0,1-2 0 0,-1 2 0 15,3-1 0-15,-2 0 0 0,0 0 0 0,2 0 0 0,1 1 0 0,-1-2 0 16,0 0 0-16,1 1 0 0,0-2 0 0,-1 1 0 0,2-1-4 0,-1 0 4 15,1 0-4-15,-1-1 0 0,1 0 0 0,-1 0 4 0,1-1-4 0,-1 0 0 0,-1 0 0 16,1-1 0-16,-2 0 0 0,0 0 0 0,-1 1 4 0,2-3-4 0,-3 1 4 16,0 1 0-16,0-1 0 0,-1 1 0 0,0-1 0 0,-1 0-4 0,-1 2 0 0,0-2-4 15,-1 1 4-15,0 2 0 0,-1-1 0 0,0 0 0 0,-1 0 0 0,0 1 0 16,-1-1-4-16,0 1 4 0,-1 0-4 0,0 0 0 0,1 1 0 0,-2-1 4 15,0 1-4-15,1-1 0 0,-3 0 0 0,2 1 0 0,0-1 0 0,-1 0 0 16,0 0 0-16,0 0 0 0,-1-1 4 0,1 0-4 0,-2 0 0 0,1 1 0 0,-1-2 0 16,1 0-4-16,-1-1 4 0,-1 1-4 0,1-2 4 0,-1 1 0 0,1-1 0 15,-1-1-4-15,-1 1 4 0,0-2 0 0,0 0-4 0,0 0 0 0,-1 0-4 16,1-2 4-16,-1 1-4 0,0-1 0 0,0-1 0 0,0 1 0 0,-1-3-4 0,1 0-4 15,0 1 0-15,0-3-4 0,-1 2 0 0,1-2 0 0,1-2-4 0,-1 0 4 16,1-1 0-16,0 0 0 0,1-2 0 0,-1 1 4 0,2-1 0 0,0-1 0 0,0-1 4 16,2 0 0-16,-1 0 4 0,0-1 0 0,1 1 4 0,2-2 0 0,-1 1-4 15,1-1 4-15,0-1 4 0,1 0 0 0,1 1 4 0,0 0 0 0,0 0-8 16,1 0 4-16,0 1 4 0,1 0-4 0,-1 0 4 0,1 1 0 0,0 1-4 15,0-1 4-15,1 3 0 0,0-1 4 0,1 2 0 0,-1 0-4 0,1 1 4 0,-1 0 0 16,0 1 0-16,1 0 0 0,0 2 0 0,0 0 0 0,2 0 0 0,-1 1 0 16,0 1 0-16,0-1 0 0,1 2-4 0,1 0 0 0,-1 0 4 0,0 0-4 0,0 1 0 15,1 1 0-15,1-1 0 0,-2 0 0 0,1 2-4 0,0-1 0 16,0 0 0-16,1 1 0 0,-1 0 0 0,-1 0 4 0,1-2-8 0,0 2 4 0,0 0 0 15,-1 0-4-15,0-1 0 0,1 1 0 0,-1 0-4 0,-1 0-4 0,0 0-4 16,0 0 4-16,-1 0-12 0,0 0 0 0,1 0-12 0,-2 0 4 0,-1 0-12 0,1 0-8 16,-2 0-16-16,1 0-28 0,-1-1-16 0,0 1 8 0,-1 0 12 0,0 0 12 15,-1 0 4-15,0 0 12 0,0 0 4 0</inkml:trace>
  <inkml:trace contextRef="#ctx0" brushRef="#br0" timeOffset="35714.0427">683 13641 3 0,'3'0'64'0,"-2"-1"-4"0,3 0-8 0,-2 0 0 0,1 0 0 0,-1 0-8 15,1 1 0-15,-1-1-16 0,1 1 12 0,-1 0-8 0,1 0-12 16,0-1 12-16,0 1-8 0,1 1-8 0,0-1 4 0,-1 0 0 0,0 0 4 0,1 1 0 15,0 1-12-15,0-1 0 0,-1 0 4 0,3 0 0 0,-2 1-8 0,0 0 8 16,1-1 0-16,0 1 0 0,0 1 0 0,0-1-4 0,1 0 4 0,-1 1-4 0,-1 1 0 16,1-1 0-16,-1 0 0 0,0 1 4 0,1-1-4 0,-2 1 0 0,0 0 0 15,1 0 0-15,-1 2 0 0,-1-1 0 0,0 1 0 0,0-1-4 0,-1 2 0 16,-1-1-4-16,0 1 4 0,0-2 0 0,-1 2 0 0,-1 0-4 0,0 1 4 0,1-1 0 15,-2 1-8-15,1-2 4 0,-1 2 0 0,0-1 0 0,0 1 4 0,-1-1-4 16,0 0 4-16,0 0-4 0,1-1 4 0,-1 1 0 0,1-1-4 0,-1 0 0 0,1 0 0 16,-1-1 4-16,1 0 0 0,0-1 0 0,1 1 0 0,0-3 0 0,0 1 4 15,0 0 0-15,1-2-4 0,0 2 0 0,1-2 0 0,0 1 4 0,2-2 4 16,-1 0-4-16,1 0 4 0,1-2-4 0,0 1 4 0,1 0-8 0,1-1 8 15,0 0-4-15,0 0 12 0,1-1-4 0,-1-1 8 0,3 3-4 0,-2-3-8 0,1 1 4 16,0-1 4-16,1 1-8 0,0 0-4 0,-1-1 4 0,2 1 0 0,-2 0-4 16,2-1 0-16,-1 0 4 0,0 1-8 0,1 0 0 0,-2-1 4 0,1 1-8 0,-1 1 0 15,1-2 0-15,-2 2-8 0,1-1 4 0,-2 1 4 0,0-1 4 16,0 1-4-16,0 0 0 0,0 0-4 0,-2 2 0 0,0-1 0 0,0 0-8 0,-1 0 8 15,0 1 0-15,-1-2-8 0,1 2-8 0,-1-1-8 0,-1 1-8 0,0 1-12 16,0-1-24-16,0 2-12 0,-2-2-32 0,1 2-36 0,0-2-20 0,-2 1 12 0,1 1 20 16,-1 0 16-16,1-1 12 0,-1 1 16 0,-1 0 8 0,2-1 8 0,-2 0 12 15</inkml:trace>
  <inkml:trace contextRef="#ctx0" brushRef="#br0" timeOffset="36988.1156">2804 16204 11 0,'-3'2'40'0,"1"1"-4"0,0-1 0 15,0 0 0-15,0 1 0 0,0-1 4 0,1 0 4 0,0 0-4 0,0-1-8 16,0 0 0-16,0 1 0 0,1-2 4 0,0 1 0 0,-1 0-4 0,1 0 0 0,-1 0-4 15,1-1 0-15,0 0-4 0,0 0-4 0,1 0 0 0,-1-1 0 0,1 1-8 16,-1-1-4-16,0 0 8 0,1 0 4 0,0 1-4 0,1-1 0 0,-1-1 0 0,2 2-8 16,-1-1 12-16,1-1-8 0,1 1 4 0,1 0 0 0,0 0 0 0,1-2 0 15,1 2 0-15,-1-1 0 0,3-1 0 0,1 0 0 0,0 0 0 0,2 0 0 16,2-2 0-16,-1-1-4 0,4 1 4 0,-2-1-4 0,4-2 0 0,0 1 0 15,0-3 0-15,2 2-12 0,2-2 12 0,-2 1 0 0,2-3-4 0,1 1 4 0,0 0 0 16,0-1-4-16,0 0 0 0,0-1 0 0,1 1 0 0,-1-1 0 0,-1 1 0 16,0 0-4-16,0-1 0 0,-1 1 0 0,-1 0 8 0,0 0-4 0,-2 2 4 0,0 0 0 15,-1 0 0-15,-3 0 0 0,1 1 0 0,-3 1 8 0,1 1-4 16,-3-1-8-16,-1 4 8 0,-1-1 4 0,-1 2-8 0,-1-1 4 0,-1 1 0 0,-2 1 0 15,0 2-8-15,0-1 4 0,-1 1-4 0,-1 1 4 0,0-1-4 0,-2 2 0 16,1-2-4-16,0 2 0 0,-1-1 4 0,0 1-8 0,-1 0 4 0,0-1-8 0,1 1-8 16,-1 0 8-16,0-1-16 0,0 1-8 0,-1-1-12 0,2 1-16 0,-2-2-20 15,0 1-20-15,-1 1-20 0,1-2-40 0,0 0 4 0,-1 1 16 0,1-1 16 16,-1 0 12-16,0 0 12 0,1 0 12 0,-2 0 8 0,2 0 8 0</inkml:trace>
  <inkml:trace contextRef="#ctx0" brushRef="#br0" timeOffset="37979.1723">3939 16184 7 0,'2'0'64'0,"-1"-1"-8"15,0 1-4-15,0 1-4 0,-1 1-4 0,1-1 4 0,-1 3-4 0,0-1 0 0,0 2-16 16,-1 1 4-16,1 0-4 0,-1 2-4 0,0 0 8 0,1 1-4 0,0 1 0 16,-2 1-8-16,2 1 8 0,-2 0-8 0,1 2 0 0,-1 0-4 0,1 2 0 0,0 0 0 15,-1 0-4-15,1 2 4 0,-1 1-8 0,2 1 0 0,-2 0 4 16,1 0 0-16,0 0-4 0,-1 1 0 0,1-1-8 0,0-1 8 0,0 3-4 0,0-4 4 15,1 2-8-15,0-1 4 0,0-1-4 0,0-1 12 0,0 0 0 0,0 0-4 16,0-2 4-16,1 0-4 0,0-2 0 0,1 0 0 0,0-2 0 0,1 0 4 0,0-2-4 16,0-1-4-16,1-2 8 0,1-2-4 0,0 0-8 0,3-2 4 0,-2-2-4 15,1-1 8-15,1-1-4 0,1-2 0 0,0-1-4 0,0-1 0 0,0-1 0 16,1 0 4-16,-1-2-4 0,0 2 4 0,1-2 0 0,-1 0 0 0,0 0 4 15,1-1-4-15,-3 0 4 0,1-1 0 0,0 1 4 0,-2 0 0 0,1-1 4 0,-1 1 0 16,-2 0 0-16,1-1 0 0,-2 2 0 0,-1-1 0 0,-1 2 0 0,-2 0 0 16,1 0-4-16,-4 2 0 0,0 0-4 0,-1 3 0 0,-1-2 0 0,-3 2 0 0,1 1 0 15,-1 1 0-15,0 1 0 0,-2 0 0 0,1 0 0 0,-2 3 0 16,0-2-4-16,1 2 0 0,-1 1 0 0,-1 1 0 0,2-3-4 0,-2 3 4 0,2 0-4 15,-2 1 0-15,3-2 0 0,-1 3 0 0,-1-2 0 0,2 1 0 0,1 0-4 16,-1-1 0-16,2 1 0 0,0 0 0 0,2 0 0 0,-1-1 0 0,2 1-4 0,2-2 0 16,-1 1 4-16,2 1 0 0,1-3-4 0,0 1 0 0,1-2 0 0,2 1 0 15,0-1 0-15,1-1-4 0,1-1-4 0,1 0-4 0,1-2 0 0,0 1-4 16,2-2 0-16,0-1 0 0,2 0-4 0,0-1 0 0,0-1-4 0,2 1 12 15,0-2 0-15,1-1 4 0,0 1 0 0,0 0 4 0,1-2 4 0,0 1 0 0,1 0 0 16,-1 0 0-16,1-1 4 0,-1 0 0 0,2 1-4 0,-3 0 12 0,2 0-4 16,0 1 8-16,0 0-4 0,-2 0-4 0,1 2 4 0,0 0-4 0,-2 0 4 0,3 0 0 15,-4 3 0-15,2-1 0 0,-2 2-4 0,0 0 4 0,0 2-4 16,-2-1 4-16,1 1 0 0,-1 2 0 0,0-1 0 0,-1 2 4 0,0-2-4 0,0 3 0 15,0-1-4-15,-1 1 8 0,0-1-4 0,2 1 0 0,-2 0 4 0,1-1-4 16,-1 0 0-16,0 1 0 0,1-2 0 0,-1 2 4 0,1-1-4 0,0-1 4 0,-2 0-4 16,2-3 0-16,-1 2 0 0,2 0 0 0,-3 0 4 0,2-2 0 0,-2 0 0 15,1-1 0-15,0-1 0 0,0 1 0 0,-1-1 0 0,0-1 0 0,2-1 4 16,-3 0-4-16,1-1 4 0,-1 0 0 0,0-1 4 0,-1 1 0 0,0-1 0 0,1-1 4 15,-2 0 0-15,0 0 8 0,-1 1 0 0,-1-1-8 0,0 0 4 0,-1-2-4 16,0 2 0-16,-2 0 4 0,0 0 0 0,-1 0-4 0,-1 0-4 0,-2 0-4 0,1-1 4 16,-1 3-8-16,-1 0 8 0,-2 0-8 0,0 1 4 0,-1 0-4 0,1 0 4 15,-3 2 0-15,1-1-8 0,0 3 4 0,-3 0 0 0,2 0 0 0,-1 0-8 16,1 0 4-16,-2 3 0 0,2-1-4 0,0 0 0 0,-1 1-8 0,1 0 4 15,0 1-4-15,0-1 4 0,1 1-12 0,0 0 0 0,1 0-12 0,1 0-12 0,-1 1-12 16,2-1-16-16,0 0-16 0,2 0-20 0,-2 0-24 0,3 0-32 0,0 0 16 16,0-2 12-16,1 1 12 0,-1-2 16 0,3 1 12 0,-2-1 8 0,1-1 12 15,2 0 8-15</inkml:trace>
  <inkml:trace contextRef="#ctx0" brushRef="#br0" timeOffset="40500.3165">4790 12209 7 0,'-9'0'36'0,"2"1"0"0,-1 0 0 0,2-1-4 15,-2 1 0-15,1-1 0 0,1 2 0 0,0-1-8 0,1-1 4 16,-2 0-4-16,2 1-4 0,1-1 0 0,0 0 0 0,1 0-4 0,0 0 0 0,1 0 8 15,-1-1 0-15,2 1 0 0,1 0-8 0,0 0 8 0,0 0 4 0,0 0 4 16,2 0-12-16,1 0 16 0,-1 0-16 0,1-1 12 0,1 1 0 0,1 0-4 0,1 0 4 16,1 0 0-16,0 0-4 0,1 1 0 0,1-1 4 0,3 0 0 0,-1 0 0 15,4 0-4-15,-1 0 0 0,3 0 0 0,-1 0 0 0,3 0-4 0,1 0 0 16,1 0 0-16,3 0 0 0,-1 0-4 0,0 0 0 0,3 0 4 0,0 0 0 15,1 0-12-15,0 0 8 0,1 0 0 0,0 0 0 0,0 0-8 0,1 0 8 0,-2 0-4 16,2 0 0-16,0-1-4 0,-1 1 4 0,0-2 0 0,-1 2-4 0,-1 0 0 16,0-1 4-16,-2 1 0 0,0 0 4 0,-2-1 0 0,-1 0-4 0,-2 1 0 0,-1-1 4 15,-2 0-4-15,0 0 4 0,-3 1-4 0,0-1 4 0,-2 1-4 0,-1-1 0 16,0 1 4-16,-3-1-4 0,0 1 4 0,-1 0 0 0,0 0-4 0,-2-2 0 15,-1 2 0-15,0 0-4 0,-2 0-4 0,0 0 0 0,-1 0-4 0,0 0-8 0,-1 0 4 16,-1 0-4-16,0 0 0 0,0 2-4 0,-1-2 0 0,-2 0-16 0,1 0-4 16,0 0-4-16,-1 0-16 0,0 0-16 0,0 0-12 0,1 0-4 0,-2-2-16 0,0 2-12 15,1-1-8-15,-1 0-20 0,0 0-24 0,1 1 12 0,-1-2 16 16,0 2 16-16,1-2 12 0,0 1 12 0,0-1 12 0,0 2 8 0,2-2 8 0</inkml:trace>
  <inkml:trace contextRef="#ctx0" brushRef="#br0" timeOffset="41033.347">6164 11965 3 0,'4'-4'44'0,"1"-1"-4"0,0 2 0 0,0-1 0 0,0 1 4 16,1 0 0-16,-2 1 4 0,4 0 0 0,-1 0-4 0,0 1 4 0,0 1-8 16,2 0 0-16,-1 0 0 0,1 0 0 0,0 1-4 0,2 0 0 0,-1 2-4 0,0-3 4 15,2 3-8-15,-1 1 0 0,2-1 0 0,-2 1-4 0,1 0-8 16,1 2 4-16,-1-2 0 0,2 2-4 0,-1-1 0 0,1 1 0 0,-2 0 0 0,1-1 0 15,1 2 4-15,-2-1-4 0,0 0 0 0,-1 0 8 0,0 1 0 0,0-2 0 16,-2 2 4-16,0-2 4 0,-1 1-8 0,0 1 8 0,-2-2 0 0,-1 2-4 0,0-1 4 16,-3 0-12-16,0 0-8 0,0 1 0 0,-2-1 4 0,-1 0-4 0,0 0 0 15,-2 0 4-15,0 1-8 0,-1-2-8 0,-1 0 0 0,0 0 0 0,-3 0 12 16,2 0-8-16,-2 0 0 0,1 0 4 0,-1-1-8 0,-1-1 4 0,1 1-4 15,-1 0 0-15,-1-1 0 0,1 0 0 0,0 0-8 0,-1-1 8 0,2-1 8 0,-1 1-8 16,2-2-8-16,-2 0 8 0,1 0-8 0,2-2 4 0,0 0 12 0,0-1-8 16,1-1 0-16,1 0 4 0,1-3-4 0,-1 2-4 0,3-2-4 0,0-1 12 0,1-1-4 15,1-1 0-15,0 0-8 0,1 0 16 0,1-2-8 0,1 0 0 0,0-1 0 16,2-1 4-16,-1 1 0 0,0-1-8 0,1-3 4 0,0 3 0 0,1-2 8 15,0 1 0-15,0-2 4 0,0 1 0 0,1 0-4 0,-1-1 0 0,-1 0 0 0,2 1 4 16,-2 0 0-16,1 0-4 0,-1 0 4 0,-1 0-4 0,0 1 0 0,-1-1 0 16,0 4 8-16,0-3-4 0,-2 2-8 0,-1 0 8 0,-1 1-8 0,0 1 0 0,-1 1 4 15,-3-1-4-15,0 3 0 0,-1 1 0 0,-1 0-4 0,0 1 4 16,-2 2-4-16,-2 1 4 0,0 1-4 0,-3 2 0 0,1 1 4 0,-1 0-4 0,-2 3 0 15,0 1 0-15,-1-1-4 0,1 3 0 0,-2 0-4 0,2 0-4 0,-2 1 4 16,2 0-12-16,-1 1-12 0,1 0-12 0,-1 1-12 0,3 0-8 0,-2 1-16 0,2 0-12 16,1 0-4-16,0 0-8 0,2 0-24 0,-2 0-20 0,3 0 12 0,2-1 16 15,-2-1 12-15,4-1 12 0,0 0 12 0,1 0 4 0,2-3 12 0,0 0 8 16</inkml:trace>
  <inkml:trace contextRef="#ctx0" brushRef="#br0" timeOffset="42017.4033">4882 14114 11 0,'-8'-5'36'0,"2"2"-4"0,-1-1 4 0,1 2-4 16,-1-2 0-16,0 2 0 0,1-2 0 0,0 1 0 0,1 2-4 0,-1-2 4 0,0 2 0 16,2-2 4-16,-1 1 0 0,1 0-4 0,-1 1 0 0,1-1 0 0,1 1-4 15,-1 1-4-15,1-2 4 0,0 2 0 0,1-1-4 0,0 1 0 0,0 0 8 16,0-2-4-16,0 1-8 0,1 1 0 0,0 0 0 0,0 0 0 0,0-1-4 15,0 1-4-15,1-1 8 0,1 1-4 0,0-1 0 0,0 0 0 0,0 0 0 0,1 0 0 16,1 0-4-16,-1 0 4 0,1 0-4 0,1 1 4 0,0-1 0 0,2 1 0 16,-1 0 4-16,1 0 0 0,1-1 0 0,2 1 0 0,-1-1 0 0,1 1 0 0,2-1 4 15,0 1-4-15,1 0 4 0,2 0-8 0,-1 0 8 0,2-1-4 0,0 0-4 16,1 1-8-16,1-2 12 0,2 1-4 0,-2-1-4 0,1 0 4 0,0 1 4 15,2-1-8-15,-1 0 8 0,0 0-8 0,0-1 4 0,1 0 0 0,-2 0-8 0,0 0 0 16,-1 1 4-16,1-1-4 0,-2 0 0 0,0 0 0 0,-2 0 0 0,1 0 4 16,-3-1 0-16,1 2-4 0,-2-1 0 0,-1 1 4 0,-1-1-4 0,0 1-4 0,-2-1 0 15,-1 1-4-15,0 0 0 0,-2 0-4 0,-1 0 0 0,-1 2-4 16,-2-1-4-16,1 1-8 0,-2 0-12 0,0 0-16 0,-2 1-12 0,0-1-12 0,0 2-20 15,-3 0-8-15,1 0-16 0,-1 0-8 0,1 0-28 0,-2 0 16 0,-1 2 16 16,2-2 12-16,-2 2 12 0,2 1 12 0,-2-1 8 0,0 1 8 0,1 2 8 0</inkml:trace>
  <inkml:trace contextRef="#ctx0" brushRef="#br0" timeOffset="42444.4276">5071 14737 75 0,'-10'2'72'0,"0"-2"-12"0,1 2 4 0,-1 0-8 16,0-1 0-16,1 0-12 0,0 0 4 0,0 0-8 0,0 0-4 0,2-1-4 0,0 3 0 15,-1-2-12-15,2-1 8 0,1 2-4 0,1 0-4 0,0-1 4 0,2 0-8 16,0 0 0-16,1 1 0 0,1-2 4 0,2 0 0 16,0 1 0-16,2-1 0 0,1 1-8 0,0-1 8 0,3-1-8 0,1 1 0 0,0-1 0 0,0 1 0 15,3-2 0-15,-2 0 0 0,2 2-4 0,0-3 0 0,0 1 0 0,1 1 4 0,-2 0 0 16,3-1-4-16,-2 0 0 0,0 0 0 0,2 1 0 0,-2-1 4 0,-1 0 0 15,2 2 4-15,-3-2 0 0,1 1 4 0,0 1 0 0,-1-2-4 0,-1 4 4 0,0-2 0 16,-2 3 0-16,1-3 0 0,-2 4-4 0,1 0 4 0,-2 0 0 0,0 2-4 16,-1 1-8-16,-1 0-4 0,0 1 12 0,-1 1-8 0,0 1 0 0,-1 0-4 0,0 1 0 15,1 1 0-15,-1 0 4 0,0 0-4 0,-1 2 0 0,0-1 0 0,0 0 0 16,0 1-4-16,0 0 0 0,0 0 4 0,0 0-8 0,0 0 4 0,0-2 0 15,0 1-8-15,0 1 4 0,1-3-4 0,-1 0 0 0,0 0 0 0,1-1-4 16,-1-1 0-16,1 0 0 0,0-1-4 0,0-1 4 0,-1-1-4 0,0-2-8 0,1 0-4 16,0-1-12-16,0 0-8 0,-1-2-12 0,1-1-8 0,-1-1-12 0,0 0-16 15,0-3-24-15,0 2-8 0,-1-3 12 0,1 0 12 0,-1-2 12 0,0 1 12 16,0-1 8-16,1-1 4 0</inkml:trace>
  <inkml:trace contextRef="#ctx0" brushRef="#br0" timeOffset="42787.4473">5433 14706 47 0,'10'-6'72'15,"-2"-1"-8"-15,1 1 4 0,0 0-16 0,0 1 0 0,0 0-4 0,1 0 4 0,-2 2-12 16,0-1 4-16,0 1 0 0,1 1-8 0,-1-2 4 0,-1 2-4 0,1 0 0 16,1 0-4-16,-3 1 0 0,2 0-4 0,-2 0 0 0,2 1 0 0,-2 0-4 15,0 0 0-15,0 1-4 0,-1 0 0 0,2 0-4 0,-1 0 0 0,0 1-4 0,-1-1 4 16,1 2 0-16,1-2 0 0,-1 1 0 0,-2 1 0 0,1-1 4 0,0 0-4 15,-1 1 0-15,2 1 0 0,-3-1 4 0,0 2-4 0,0-1-4 0,-1 2 4 16,0-2 0-16,-1 1 4 0,0 0-4 0,-1 1-4 0,0 1 0 0,-1-2 0 0,0 2-4 16,0 0 8-16,-1 0 0 0,0-1-8 0,-1 0 8 0,1 1-8 0,-1 0-8 15,0-1 0-15,0 2 0 0,0-1 4 0,1 0 4 0,-1-2 4 0,1 2-8 16,0-1 4-16,0 1-4 0,0-2 8 0,1 1 0 0,0-1 0 0,1 0 0 0,0-1 0 15,1 0 0-15,1-1-8 0,0-1-4 0,2 1 4 0,-1-1 0 0,2-1 0 16,2-1-4-16,-2 0 4 0,2 0-8 0,1-1 8 0,-1-1 0 0,3 1-4 0,-1-2 4 16,1 0 0-16,2 2 0 0,-1-3-4 0,0 1 0 0,1 0 0 15,0-1-4-15,1 0-4 0,-1 0 8 0,0-1-4 0,0 0-4 0,1 0-12 0,0 0-8 16,-2-2-16-16,1 3-8 0,0-1-20 0,-3-1-8 0,1-1-16 0,0 2-16 15,-1-1-24-15,-1 0-12 0,1-1 16 0,-3 2 16 0,1-2 12 0,-2 1 12 0,1 1 8 16,-2-1 12-16,0-1 8 0</inkml:trace>
  <inkml:trace contextRef="#ctx0" brushRef="#br0" timeOffset="46416.6549">3120 10849 3 0,'-4'0'64'16,"-1"0"-4"-16,0-2 0 0,0 2-4 0,1 0-4 0,-1 0 0 0,0-1 4 15,0 1-12-15,1 0 0 0,0 0-4 0,1-2-4 0,-1 2 0 0,0-1-4 16,0 1 4-16,1-1-12 0,0 0 4 0,1 0 4 0,0 0 0 0,1 0-4 16,1 0 0-16,0-1 0 0,0 1 0 0,3-1-4 0,-1 0 4 0,2 0-4 0,2 0 0 15,0 1-4-15,1-1 0 0,0 1 0 0,2-2 4 0,1 2 0 0,0-1-4 16,1 1 4-16,2 0-4 0,-1-1 0 0,3 1 4 0,0 0 8 0,2-1-8 15,0 1 0-15,3-1 0 0,0 2-12 0,0-2 8 0,4 2 0 0,-1-2 0 0,1 1-4 16,2 0 0-16,-1-1-4 0,2 1 0 0,1 1 4 0,0-3 0 0,0 3-4 16,1-2 0-16,0 2 0 0,1-2 0 0,0 1 4 0,-1-1-8 0,2 2 0 15,-1-2 0-15,-1 1 0 0,2-1 0 0,-2 1 0 0,0 0 0 0,-2 0 0 0,1-1 0 16,0 0-4-16,-2 2 4 0,-1-2-4 0,0 1 0 0,-2 0 0 0,-1-1 0 15,0 2 8-15,-1-2 0 0,-3 1-12 0,1 0 4 0,-4 0 0 0,2 1 0 16,-4 0 0-16,1-1-4 0,-3 1 8 0,0 0 0 0,-1-1-4 0,-1 1 4 0,-1 0 0 16,-2 0 0-16,1 1 0 0,-1-1 0 0,-2 0 0 0,0 0-4 0,-1 0 4 15,-1 0-4-15,0 1 4 0,0-1 0 0,-1 0 0 0,0 0-4 0,1 0 4 0,-1 0-4 16,-1 0 0-16,0 0 0 0,-1 0 0 0,1 0-4 0,-2 0 0 15,1 0 4-15,1 0-4 0,0 0 0 0,0 0-4 0,-1 0 4 0,1 0-8 0,-1 0 0 16,1 0-8-16,-1 0 0 0,1 0-4 0,-1 0-12 0,0 0-20 0,1 0-20 16,-1-1-20-16,0 1-24 0,-1-1-28 0,1 1-40 0,-1-1 12 0,0-1 16 0,0 2 20 15,-1-2 16-15,0 0 12 0,0 1 12 0,0-1 12 0,-2 0 8 0,1 0 8 16</inkml:trace>
  <inkml:trace contextRef="#ctx0" brushRef="#br0" timeOffset="47420.7123">4696 10289 3 0,'0'-2'60'0,"0"1"-8"0,0 0-4 0,0-1 0 16,0 1-4-16,0 0 0 0,0 1-4 0,1 0 4 0,1-1-12 0,0 1 8 15,0 0-4-15,1 1 0 0,1-1-4 0,0 2 0 0,0 0 0 0,0 0 0 16,3 0-4-16,-2 1 4 0,1 1-8 0,1-2 0 0,1 2 0 0,0 0 0 0,1 0 0 16,0 1-4-16,2 0 0 0,-1 0 0 0,0 1 0 0,3 0-4 0,-2 0 0 15,1 0-4-15,-1 0 4 0,0 0 0 0,2 1 0 0,-3-1-4 0,1 1 0 0,1 0 0 16,-3 1 4-16,0-3 0 0,1 2 0 0,-1 1-4 0,-2-1 4 15,0 0-4-15,-1 1 0 0,-1 0-4 0,-1 0 0 0,-1-1 0 0,-2 1 0 0,0-1-4 16,-1 2 4-16,-1-2-4 0,-1 1 0 0,-1 0 0 0,-1 0-4 0,0 0 4 16,-2-1 0-16,0 0 0 0,-1 1 0 0,1-1 0 0,-2 0 0 0,-1 0 0 0,2-1-4 15,-2 0 0-15,0-1 4 0,-1 0-4 0,2 0 4 0,-2-2-4 0,0 1 4 16,1-1 0-16,0-2-4 0,0 0 0 0,0-1 0 0,2 0 4 0,0-2 0 15,-1-1-4-15,2-1 0 0,1 1 0 0,1-4 0 0,0 1 0 0,2-1 0 16,0 0 0-16,-1-3 0 0,3 0 0 0,0-1 0 0,3 0 0 0,-1-1 0 0,1-1 4 16,0-1-4-16,1 0 0 0,1-1 0 0,1 0 4 0,2-1-4 0,-2 0 8 15,2-1-4-15,0 0 4 0,1-1-4 0,0 2 4 0,0-1 0 0,-1-1 4 0,2 1 4 16,-1 0 0-16,-1 1 0 0,2-1 4 0,-3 2 8 0,0 0-4 15,0 1-4-15,0-1 4 0,-3 1 4 0,0 1-8 0,-2 1 0 0,0 1 0 0,-1-1 0 16,-2 1 0-16,-2 2-8 0,0 0 4 0,-1 3 0 0,-3 0-4 0,1 0 4 16,-2 1-4-16,-1 2 0 0,-2 0-4 0,0 2 0 0,0 1 0 0,-3 0 0 0,0 2-8 15,0 1 4-15,-1 0 0 0,1 2 0 0,-1 0-4 0,-2-1 4 0,3 1-8 16,-2 2 4-16,1-1-4 0,-1 2 0 0,2-2-4 0,-1 3 0 0,3-1-4 15,-1 0 0-15,1 0 0 0,1 1-8 0,-1 0 0 0,2 0-20 0,1-1-4 16,0 0-8-16,2 1-4 0,0-1-16 0,1 0-8 0,1 0-12 0,-1-2-12 0,2 1-16 16,1 0-24-16,0-2 0 0,1 0 12 0,1-2 16 0,-1 1 16 0,2-2 8 15,0 1 12-15,0-1 8 0,1-1 8 0</inkml:trace>
  <inkml:trace contextRef="#ctx0" brushRef="#br0" timeOffset="48795.7909">6161 11735 23 0,'-5'1'56'0,"-2"0"-4"15,1-1 0-15,0 1-8 0,1 0 0 0,0 0-8 0,0 0 0 0,1-1-4 16,0 1-4-16,0-1-4 0,0 1 0 0,2 0-8 0,-1-1 0 0,2 0 12 0,-1 2-4 16,1-1 0-16,1 0 0 0,1 0 4 0,0 0 0 0,1 1 4 0,1 0 0 15,1 0 0-15,2 1 0 0,0 0-8 0,2 1 4 0,0-1-4 0,2 2 4 0,1 0-4 16,0 0 0-16,2 0 0 0,0 2 0 0,3-1 0 0,-1 1-4 15,2 0 0-15,0 2 0 0,2-1 0 0,0 0-4 0,1 0 0 0,1 2-4 0,0-2 4 16,1 3-4-16,1-2-4 0,1 1 4 0,0-1 0 0,-1 1-4 0,1 0 0 16,1-1 4-16,-1 0-4 0,1 0 4 0,-2 0-4 0,1 0 0 0,0-1 0 0,-2 0 0 15,0-1 4-15,-1 1-4 0,1-2 0 0,-3 1 0 0,1-1 4 0,-1-1 0 16,-3 1 4-16,1-1-8 0,-1-1 4 0,0 1-4 0,-3-2-8 0,1 1 8 15,-3-1-4-15,1 0 4 0,-1-1 0 0,-1 1 0 0,-2-1 0 0,1-1 0 16,-3 1-4-16,1-1 0 0,-1 0 12 0,-2-1-8 0,0 1 4 0,0 0-4 0,-1-1 0 16,-2 0 0-16,1 0-4 0,-2 0 4 0,0 0-8 0,-1 0-4 0,0-1-8 15,0 0 4-15,-1 1-8 0,-1-2 8 0,-1 1-8 0,2-1-4 0,-1 1-12 0,-2 0-8 16,2-1-12-16,0 0-8 0,0 1-8 0,-1-1-8 0,-1 0-8 0,2 1-16 15,0-1-20-15,-1-1-16 0,2 2 12 0,-1 0 16 0,0-2 12 0,1 2 8 16,0-1 12-16,0 1 8 0,1-2 8 0</inkml:trace>
  <inkml:trace contextRef="#ctx0" brushRef="#br0" timeOffset="49230.8159">7084 11773 55 0,'-2'-8'92'0,"-1"0"-12"0,1 0-8 0,0 2-4 0,0-2-8 0,0 2-8 16,1 0-8-16,0 0-4 0,0 1 0 0,0-1-8 0,0 1 4 0,1 2 4 15,0-1 0-15,2 2-8 0,-1 0-4 0,1 0 0 0,0 1 0 0,1 0-4 0,0 1-4 16,0 2 0-16,1 0-4 0,-1-1 4 0,1 2 0 0,2 0-4 0,-1 1 0 15,1 0-4-15,0 1 4 0,0 0-4 0,2 2 0 0,-2-1 0 0,1 0 0 16,-1 1 0-16,2-1 0 0,-2 2-4 0,0-1 4 0,0 1 0 0,0 1-4 0,-1-1 0 16,1 1 0-16,-2-1 0 0,1 2 0 0,-2-1 0 0,-1 0 0 0,0 1 4 15,0-1-8-15,-2 1 4 0,0-1 0 0,0 1-4 0,-2 0 0 0,0-1 0 0,-1 1 0 16,1-1 0-16,-3-1 0 0,1 3 0 0,0-2 0 0,-2 0 0 15,1 0 0-15,1-1 0 0,-2 0 0 0,0 0-4 0,0 0 8 0,0-1-4 0,1 0-4 16,0-1 0-16,0 0 0 0,1 0-4 0,-2-1 4 0,3 1 0 0,-2-2 0 16,3 1 0-16,0-2 4 0,1 1-4 0,0 0 4 0,1-2 0 0,1 1 0 0,0-2-4 15,3 1 0-15,-1-1 4 0,2 0 4 0,1 0-4 0,0-1-4 0,2 0 4 16,-1-1-4-16,3 0 0 0,0 0-4 0,0 0 0 0,1-1 4 0,0 2-4 15,0-3 4-15,2 1-4 0,-1 1 0 0,1-1-4 0,-1 0 0 0,0-1 4 16,2 1-4-16,-2 1 0 0,0-1-4 0,1-1-4 0,-2 1-8 0,1 0-8 0,-2-1-4 16,0 1 0-16,0 0 0 0,-1-1-8 0,-1 0-12 0,1 3-4 0,-2-3-12 15,-1 2-8-15,0-1-8 0,-1 1-16 0,0-1-16 0,-2 0 20 0,0 1 8 0,0 1 12 16,-2-2 4-16,1 0 12 0</inkml:trace>
  <inkml:trace contextRef="#ctx0" brushRef="#br0" timeOffset="49685.8419">7523 11634 39 0,'7'-9'76'0,"0"1"-4"0,-1 0-8 0,2 0 0 16,0 0-8-16,-1 2-4 0,2 1 4 0,-1-1-4 0,1 1 0 0,-1 2-4 0,0 0-8 15,0 0 4-15,1 1 0 0,-2 1 0 0,2 1-8 0,-2 1 0 0,1 0 0 16,0 2 0-16,-1-2-4 0,0 2-4 0,1 1 4 0,-2 0-4 0,2 2-4 15,-2-1 0-15,3 0 4 0,-2 1-8 0,0 1 0 0,0-1 0 0,1 1 0 16,-1 0 0-16,0 0-4 0,-1 1 4 0,0 0-12 0,1 0 12 0,-2 0 0 0,-1 0 0 16,1 0-8-16,-2 0-8 0,0 0 8 0,0 1-4 0,-1 0 0 0,0-1 0 15,-1 0 0-15,-1 0-4 0,-1 1 4 0,-1-2-4 0,0 1 0 0,-2 0-8 0,1 0 12 16,-1 0-4-16,-1 0 0 0,-1-1 0 0,1 1-4 0,-3-1-4 15,1 0 8-15,1 0 0 0,-1-1 4 0,0 1-8 0,-1-2 0 0,2 2 0 0,-1-2 0 16,0 0-8-16,0 0 8 0,1 0-4 0,1-1 8 0,-1 0-8 0,1 0-4 16,0 0 8-16,1-1 8 0,1 1-16 0,1-1 16 0,1 0-8 0,0 0 0 0,2 1 8 15,1-1-16-15,1-1 12 0,0 1-8 0,2-1 8 0,3 1 0 0,-2-1 0 16,3 1-8-16,-1 0 8 0,2 0-8 0,0 0 4 0,1 0 12 0,1 0-8 15,-1 0 4-15,2 1-4 0,0 0 12 0,-1 0-8 0,2-1 4 0,-2 1-8 0,2 0 12 16,0 1-4-16,-1-2-4 0,-1 2 4 0,0-1 4 0,1 0 8 0,-2 1-8 16,1-1 4-16,-3 1 0 0,0 1 4 0,-1-1-4 0,0 1-4 0,-2 1 4 0,-2 0-4 15,-1 1 0-15,-1-1-4 0,-2 1 0 0,0 0 0 0,-2 1 0 0,-1 0-4 16,-2-1 0-16,0 2-4 0,-4-1 0 0,2 1 0 0,-2-2-4 0,-1 2 0 15,-1-1 0-15,-2 1-4 0,0-1-4 0,0 0-4 0,-3 0-8 0,1-1-8 16,0 1-16-16,-2-3-16 0,0 2-20 0,1-2-8 0,-3 0-20 0,2 0-20 0,-1-2-28 16,2-1-24-16,-3-1 24 0,2 1 16 0,1-1 16 0,-2-2 12 0,3 1 16 15,-2-2 8-15,2 1 12 0,0-2 8 0,1 1 4 0</inkml:trace>
  <inkml:trace contextRef="#ctx0" brushRef="#br0" timeOffset="54240.1024">11063 10079 31 0,'6'0'36'0,"0"1"-4"0,0 1 0 0,0-1-8 0,1 2 0 0,0-2-4 0,1 4 0 16,-1-3 0-16,1 3-4 0,1 0 0 0,0-1-4 0,0 2 0 0,2 0 0 16,-2 0 4-16,3 0-4 0,0 0-4 0,0 2 0 0,1-2 0 0,1 0 0 0,1 1-4 15,1 1 4-15,-2-1 0 0,3 0-4 0,-1 2 4 0,2-1 0 0,-1 0 0 16,-1-1 0-16,2 2 0 0,-3-1 0 0,2 0 8 0,-1-1 0 0,-2 2 4 15,0-1 0-15,0 0 8 0,-1 1-8 0,-2-1 8 0,1 0-8 0,-3 1-4 16,-1 0 4-16,0 0-4 0,-3 0-4 0,-1 1-4 0,-3 0-4 0,0-1 4 0,-2 1 8 16,-1 0-4-16,-1 0-4 0,-2 0-4 0,-3 0 4 0,1 2-4 0,-1-3 0 15,-3 1-4-15,1 0 4 0,-2 0 0 0,0 1 4 0,0-3-8 0,-1 2 0 0,-1-1 0 16,1-1 4-16,-2 2-4 0,1-3 4 0,-1-1 0 0,1 1 0 0,-1-1 4 15,1-2 0-15,0 0-4 0,1-1 0 0,-1-1 8 0,1-1-4 0,3-1 0 16,-3-1 0-16,3 0-4 0,1-2 0 0,0 0 0 0,1-2 0 0,1 1 8 16,2-2-12-16,-1-1 4 0,1-2 0 0,1 1-4 0,2-1 8 0,1-2 0 0,0 1-4 15,2-2 4-15,0-1-4 0,1-1 4 0,2 1 0 0,1-3-4 0,0 1 8 16,0-2-4-16,1 0 0 0,2 1 4 0,0-2 0 0,0 0 0 0,0-1 4 15,1 1 0-15,1-1 4 0,-1-2 0 0,0 3 4 0,1-1 4 0,-1 0 4 0,-1 0 0 16,1 0-4-16,-2 1 4 0,0 0 0 0,-1 0 0 0,-1 1 0 0,-1 0-4 16,1 2 8-16,-3 0-12 0,-1-1 0 0,-1 2 0 0,-1 1-4 0,-1 1-4 0,-3 0-4 15,1 2 0-15,-1 1 4 0,-2 0-4 0,0 1 0 0,-3 3 4 16,1 0-12-16,-2 2 4 0,-1 1-4 0,0 0 4 0,-1 2-4 0,-1 0-4 0,0 2 4 15,-1 0 0-15,0 3-4 0,-1-1-4 0,2 1 0 0,-2 1 4 0,1 1 0 16,0 0 0-16,1 2 0 0,-1-1-4 0,2 0 4 0,-1 2-4 0,2-1 0 0,1 2-4 16,-1-1-8-16,1 0-4 0,2 0-16 0,-1 1-4 0,2-2-12 0,1 2-12 15,1-1-8-15,-1-1-4 0,2 0-8 0,1 0-4 0,1 0-12 0,0-1-16 16,3-1-16-16,-1 0 8 0,2-1 12 0,-1 0 12 0,3-1 12 0,0 0 8 15,1-1 12-15,1 0 8 0,1-2 4 0</inkml:trace>
  <inkml:trace contextRef="#ctx0" brushRef="#br0" timeOffset="55474.173">12157 10158 27 0,'0'0'56'16,"0"-1"-4"-16,0 0-8 0,1 1-4 0,-1 1-8 0,0-1-4 0,0 1 0 0,1 1-4 16,-1-2-4-16,1 2-4 0,0-1 4 0,1 1-4 0,0 1 4 0,1-1-4 15,0 1 0-15,0-1-4 0,3 1 0 0,0 0 0 0,0 1 4 0,3-2 0 16,1 1-4-16,-1 1 0 0,3-1 0 0,1 0-8 0,1 1 12 0,2-1-12 0,-1 0 8 15,4 0 0-15,-1 1 0 0,2 0 4 0,1-1-4 0,-1 1 4 0,2-1 4 16,1-1-4-16,2 1 8 0,-2 0 0 0,2-2-4 0,1 2 0 0,-1-2 4 0,1 1-4 16,0 0 4-16,-2-1 0 0,2-1-4 0,-1 0 4 0,-1 0-8 0,0 1 4 15,-2-2-4-15,0 1 0 0,-2 0 0 0,-1-1 0 0,0 0-4 0,-1 0 0 16,-2-1 0-16,0 1-4 0,-1 1 0 0,-2-3 0 0,0 2 0 0,-2 1-4 15,0-2 0-15,-2 1 0 0,0 0 4 0,-1 0-4 0,-1 0 0 0,-1 0 0 0,0 0 0 16,-2 1 0-16,0 0-4 0,-2 0 0 0,1 0 0 0,-1 0 0 0,1 0-4 16,-2 0 0-16,0 0-12 0,-1-2-8 0,-1 2-12 0,0 0-16 0,-2 0-4 0,2 0-12 15,-2 0-12-15,1-1-16 0,-2 1-16 0,0 0 0 0,-1 0 12 16,1 0 12-16,-1 0 12 0,-2 0 4 0,0 0 8 0,0 0 12 0</inkml:trace>
  <inkml:trace contextRef="#ctx0" brushRef="#br0" timeOffset="55763.1895">12355 10438 27 0,'-12'4'48'0,"2"-2"-4"16,0 0-8-16,1-1-4 0,0 1-4 0,2-1 0 0,2-1 0 0,0 1 4 0,3-1-8 15,0 0 0-15,1 0-4 0,3-1 0 0,0 1-4 0,2-1 0 0,3 0 0 16,0 0-4-16,2 0 0 0,1 1 0 0,2-2 0 0,0 2 0 0,2-1 0 15,1 0 0-15,1 1-4 0,0-2 0 0,2 2 0 0,1 0 0 0,0-1-8 0,2 0 8 16,-1 1 4-16,1 1-4 0,0-1 0 0,1 0 4 0,-1 0-4 0,2 1 0 16,-3-1 0-16,2 0-4 0,-1 0-8 0,-1 2 4 0,1-2 4 0,-1 0-4 0,-2 1-4 15,1-1 8-15,-1 1-8 0,-1-1 12 0,-1 0 0 0,0-1-4 16,-1 1-8-16,-1-1 4 0,-1 1 4 0,-1-2 0 0,0 1-8 0,0 0 8 0,-2 0-4 15,0 0-4-15,0 0-4 0,-2 1 8 0,0-2-4 0,0 0-4 0,-2 1-4 16,1-1-8-16,-2 2-4 0,-1-3-8 0,0 2-4 0,-1 0-20 0,0 0-12 0,-2-1-16 16,1 1 4-16,-1 0 12 0,-1 0 8 0,0-1 8 0</inkml:trace>
  <inkml:trace contextRef="#ctx0" brushRef="#br0" timeOffset="56113.2095">12913 10025 39 0,'1'-4'44'16,"3"1"-8"-16,-2 1 0 0,1-1-4 0,1 2-4 0,0 0 0 0,0 1-4 15,2 1 0-15,0 0-4 0,0 1-4 0,1 1 0 0,1 0 0 0,-1 1 4 16,3 0-4-16,-1 0-4 0,0 2 0 0,2-1 4 0,-1 1 0 0,1 1-4 0,1-1 0 15,0 1-4-15,2 1 8 0,-1-1 0 0,2 0 0 0,-1 2-12 0,1-2 4 16,2 3 4-16,-1-2-4 0,0 1-8 0,0 0 12 0,0 0 0 0,0 0-12 0,-1 0 0 16,1 0 4-16,-1-1 12 0,0 1-4 0,-2 0-4 0,0-1 0 0,0 0 4 15,-1 1 0-15,0-1 4 0,-2-1 4 0,0 2 0 0,-1-2-8 0,-2 2 4 16,0-2 0-16,-2 2 4 0,0 0 0 0,-3-2-8 0,2 2 0 0,-4 0 0 15,0-1 4-15,-3 2-8 0,0-2 4 0,-1 1 0 0,0 0 0 0,-1 1 0 0,-3-1-4 16,0 0 0-16,-1 1 0 0,-1-1 0 0,-2 0-4 0,1 0-4 0,-1 0 4 16,-1-1-4-16,0 1 0 0,-1-1-4 0,0 0 0 0,-1-1 0 0,1 0-4 0,-2 0-12 15,2-1-8-15,0-1-4 0,-1-1-8 0,1 1-4 0,-1-2-4 16,2 0-8-16,-1-1-4 0,1 0-12 0,-1-1-16 0,3-1-4 0,-1 0 8 0,1 0 8 15,1-1 12-15,0-1 8 0,1 1 4 0</inkml:trace>
  <inkml:trace contextRef="#ctx0" brushRef="#br0" timeOffset="58276.3332">3090 17195 19 0,'-5'-5'40'0,"0"0"0"0,0 0-4 0,0 0 0 15,0 2-4-15,1-1-8 0,-1 1 4 0,1-1-4 0,0 1-4 0,0 0 0 16,1 0-4-16,0 2-4 0,0 0 0 0,2-1 0 0,-2 2 0 0,0-2-4 0,3 2 0 15,-1 0 0-15,1 0 0 0,1 0 0 0,-1 1 0 0,3 0 0 0,0 0 0 16,0 0 4-16,1 0-4 0,1 0 4 0,1 2-4 0,0 0 0 0,2-3 4 16,-2 2 4-16,2 0 0 0,0 1 0 0,1-1-8 0,-1 0 12 0,1 1-12 0,2-2 4 15,-1 1 4-15,0 1-4 0,1 0-8 0,0 0 4 0,0-1-4 0,0 0 8 16,1 0-8-16,-1 0 4 0,3 0 0 0,-3-1 8 0,1 1-12 0,0-2 0 15,0 0 4-15,1 0 0 0,-1-2 0 0,0 1 0 0,0-1-4 0,0 0 0 0,1-2-4 16,-1-1 4-16,0 1-8 0,1-1 8 0,-2-1-4 0,2-1 0 0,0 0 4 16,0 0-8-16,-1 0 8 0,0-2 0 0,0 0 0 0,1 2-8 0,0-2 0 0,-2 1 8 15,2-1 0-15,-1 1-8 0,0-1 12 0,1 2-12 0,-1 0 12 16,0 0-4-16,0 1 0 0,0 0 0 0,1 2 4 0,-2 0-4 0,1 0 4 0,0 2 0 15,-1 2 0-15,0 0 0 0,2 0 0 0,-2 2 0 0,1 0-4 0,-1 1 8 16,0 2-8-16,1 0 4 0,-1 0 0 0,0 2 4 0,0-1 4 0,0 1-8 0,1 0 8 16,-1 1-4-16,0 0-4 0,1 0 0 0,-1 0 8 0,0 0-4 0,2-1-4 15,-2 1 4-15,3-1 0 0,-2 0-4 0,0-2 0 0,2 1 0 0,-1 0 0 16,1-3 0-16,0-1 0 0,1 2-4 0,-1-3 0 0,1 0 0 0,0-1 0 15,1 0 0-15,-1-1 0 0,1-2 0 0,0 0-4 0,1 0 4 0,-1-1-4 0,2-2 0 16,-2 0 4-16,2 0 0 0,0-2 0 0,0 1 0 0,0-2 0 0,-1 1-4 16,1-1 4-16,0 0-4 0,-1-1 4 0,-1 1-4 0,2-1 0 0,-1 1 0 0,-1 0 0 15,-1-1 0-15,0 0 0 0,1 3 0 0,-3-1 0 0,0 1 4 0,1 0-4 16,-1 0 0-16,-1 0 0 0,-1 2 0 0,0 0 0 0,1 0 4 0,-2 1 0 15,-1 0 0-15,1 2-4 0,-1-1 0 0,0 2 4 0,-1 0-4 0,0 1 0 0,0 0 0 16,-2 0 0-16,3 2 0 0,-3-1 0 0,1 1 0 0,0 0 0 0,0-1 0 16,0 0-4-16,0 1-8 0,0-1-24 0,0 1-24 0,0-1-28 0,0 0-44 0,-1 0-4 15,1 1 16-15,0-2 8 0,0 1 12 0,-1-1 8 0,0-1 12 16,0 1 8-16,0-1 8 0</inkml:trace>
  <inkml:trace contextRef="#ctx0" brushRef="#br0" timeOffset="59567.4071">15936 10062 15 0,'7'-9'52'0,"0"0"-4"0,-1 1-4 0,0 0 0 15,1 1-4-15,-2-1-4 0,0 2 0 0,0 0-4 0,-1 0 0 0,-1 1 0 16,0 1 0-16,2 0 0 0,-3 1-16 0,0 0 8 0,-1 2-4 0,1 0 0 0,-1 2 4 15,-1 0 8-15,-1 1-8 0,0-1 8 0,0 3-8 0,0 1 0 0,-1 0 0 16,0 2 0-16,-1 1-4 0,-1 0 0 0,1 2-4 0,-2 0 0 0,1 1-4 0,-1 2 4 16,0 0 0-16,-2 0-4 0,1 2-4 0,0 1 4 0,-2 0 0 0,2 1-8 15,-3 1 4-15,3-1-4 0,-1 2-4 0,-1 0 4 0,1-2 4 0,0 1-4 16,0 2 4-16,1-1-4 0,-1-2 0 0,1 0-4 0,2 1 0 0,-1-1 0 15,0-2 0-15,1 1 4 0,1-1-4 0,1-1 0 0,0-2 0 0,0 0 4 0,2-1 0 16,2-2 4-16,0 0-4 0,1-2-4 0,0-1 4 0,2-2 0 0,0-1-4 16,2-1 4-16,1-2 0 0,0 0-4 0,0-2 0 0,1-1 4 0,2-1-4 0,-1 0 4 15,0-2-4-15,1 0 0 0,-1 0 4 0,-1-1-4 0,1 0 4 16,0-1-4-16,-1 0 4 0,1 0 0 0,-2 1 0 0,1-2 4 0,-2 1-4 0,1 0 4 15,-1-2-4-15,-1 1 0 0,-1 2 4 0,-1-1 0 0,1-1-4 0,-3 3 0 16,0-2 0-16,-1 2-4 0,-2 0 4 0,-1 0-4 0,0 2 0 0,-3 0 4 0,0 0-4 16,-1 1 0-16,0 1 4 0,-1 0-4 0,-1 1-4 0,0-1 0 0,0 2 4 15,1 0 0-15,-3 0 0 0,2 0 0 0,0 2 0 0,-1-1-4 0,1 0 0 16,0 0 0-16,1 1-4 0,-1 0-4 0,0 0-12 0,2 1-4 0,0-1-12 15,0 1-8-15,0-1-8 0,2 2-12 0,1-3-8 0,0 1-28 0,1 1-8 0,1-1 8 16,1-1 12-16,2 1 12 0,-1-1 12 0,3-1 0 0,1 0 12 0</inkml:trace>
  <inkml:trace contextRef="#ctx0" brushRef="#br0" timeOffset="59882.425">16297 10248 27 0,'9'-1'36'16,"-1"0"-8"-16,-1 1 0 0,-1 1-4 0,2 0 0 0,-3 0 0 0,0 0-4 0,-1 2 0 15,0-1 0-15,-1 0-8 0,0-1 4 0,0 3-4 0,-1 0 4 16,2-1-4-16,-2 1 0 0,0-1 0 0,0 0 0 0,1 1-4 0,-1 0-4 0,1-1 4 15,-1 0 0-15,1 1 0 0,0 0 0 0,0 0 0 0,1-2 0 0,1 2 0 16,-1-1 0-16,0 0 8 0,0-1 0 0,0 1 4 0,1-1-4 0,0-1 0 0,0 2 0 16,0-2-8-16,0-1 12 0,0 0-12 0,0 0 4 0,1 0 0 0,-1-1 0 15,0-1-4-15,1 0 8 0,-1 0 0 0,0-1 0 0,0 1-4 0,0-3 4 16,-1 3 4-16,0-2-4 0,-1-1 0 0,0 1 0 0,1-1-4 0,-2 0 8 15,1 0-8-15,-3 1 8 0,3-1-8 0,-3-1 0 0,0 0 0 0,-1 1 0 0,-1 0 0 16,0 0-4-16,-1-1 0 0,-1 1-4 0,-1 1 0 0,1-2-4 0,-2 2 8 16,-2 0-8-16,1-1 4 0,-1 3 0 0,0-1 0 0,-2 1 0 0,0-1-4 0,0 1 0 15,-2 1 4-15,2 1-4 0,-1-2 0 0,-1 2 4 0,2 0-4 16,-1 0 0-16,-1 2 0 0,2-1 0 0,0-1-4 0,-1 3 0 0,1-1 0 0,1 0 0 15,0-1-12-15,1 2-12 0,0-1-8 0,2 2-8 0,-1-2-8 0,2 1-16 16,1-1-12-16,0 2-16 0,2-3 0 0,-1 1 4 0,2 1 12 0,1-1 8 0,0-1 12 16,2 1 4-16</inkml:trace>
  <inkml:trace contextRef="#ctx0" brushRef="#br0" timeOffset="60432.4565">15825 10492 35 0,'-11'0'36'0,"-1"-2"0"16,2 2-8-16,-1-1 0 0,-1-2-4 0,2 1 4 0,-2-1-4 0,1 0 4 0,1 0-4 16,-2-1-4-16,2 0 4 0,0-1-4 0,-2 0-4 0,2-1 4 0,0 1-4 15,0-3 0-15,0 0 0 0,1 1 0 0,-1-1 0 0,1-2 0 0,1 1 0 16,-1-1 0-16,1 0 0 0,1-1-8 0,2 0 12 0,-1-1-4 0,1-1-12 15,0 1 8-15,2-2 4 0,1-1-4 0,1 1 0 0,1-2-4 0,1 1 8 0,1 0-12 16,1-3 12-16,3 0-4 0,0 0-4 0,1 0 0 0,2-2 0 0,3 1-4 16,0-1 4-16,4-1-4 0,-1 2 8 0,5-2-8 0,0 0 0 0,3 0-4 0,2 1 4 15,3-1 4-15,0 0-8 0,3 1 4 0,0 1-8 0,3 0 12 16,0 0-4-16,2 1-4 0,0 0 0 0,2 3 4 0,0-1-4 0,1 3 4 0,0-1 0 15,0 3-4-15,1 0 0 0,-2 3 0 0,0 1 8 0,2 1-12 0,-3 3 4 16,0 1 4-16,-1 2-8 0,0 2 4 0,-3 2 0 0,1 1 8 0,-3 3-4 0,-1 0 4 16,-4 3-4-16,0 1 0 0,-2 3 4 0,-1 0-4 0,-3 2 0 0,-1 1-4 15,-1 0 4-15,-3 1 0 0,0 2-4 0,-2 0 4 0,-3 0 0 0,1 0 0 16,-2 1-4-16,-1 0 4 0,-3 0 4 0,2 0 0 0,-3 1 8 0,-1-1-12 15,-2 0 12-15,0 0-4 0,-2 0 0 0,0-1 0 0,-2 0 0 0,0 0-4 0,-3-1 0 16,0 0 0-16,0 0 0 0,-2-1-4 0,0-1 4 0,-2-1 0 0,0 1 0 16,0 0-4-16,-3-1 0 0,1-2 0 0,-2 2 0 0,0-2 0 0,-1 0 0 0,-1-1-4 15,1 0 4-15,-2-1-4 0,0 2 4 0,0-3-4 0,-1 0 0 0,0-1 0 16,-1 0-4-16,0-1 4 0,1-1-4 0,-2-1 0 0,1 1 0 0,0-3-12 15,-1 0 0-15,1 0-12 0,-2-3-4 0,2 1-8 0,-1-1-4 0,0-2-8 0,-1 0-8 16,3 1 0-16,-1-2-16 0,-1-2-20 0,2 1-8 0,-1 1 12 0,1-3 12 16,0 1 12-16,2 0 4 0,-2-1 8 0</inkml:trace>
  <inkml:trace contextRef="#ctx0" brushRef="#br0" timeOffset="61066.4928">15530 10608 39 0,'5'-4'56'0,"-2"1"-4"0,1 1-4 16,-1-3-4-16,1 3-4 0,-1-1-4 0,0 0 0 0,0 0-4 0,0 0-4 15,1 2 4-15,-1 0-4 0,-1-2 0 0,0 2-4 0,-1 0-8 0,1-1 0 16,-1 1 0-16,0 1 0 0,-1 0-4 0,0 1 4 0,0 0-12 0,-1 1 12 0,-1 0-12 15,1 1 4-15,-1 2-4 0,-1 0 0 0,1 0 8 0,-2 1-4 0,0 0 0 16,1 1 0-16,-1 1 0 0,0 0 0 0,-1 1 0 0,0 0-8 0,-1 1 8 16,1 0 0-16,0 1-4 0,-1-1 0 0,0 2 4 0,-1-2-8 0,1 2 0 0,-1-1 4 15,2 0 0-15,-1 2 0 0,-2-2 0 0,3 1 0 0,-2-1-4 0,1 0 4 16,1-1-8-16,0 1 8 0,-1-3 0 0,2 2-4 0,-1-2 4 0,1-1 0 0,1-1-4 15,0 1-8-15,0-1 8 0,1-1 0 0,-2 0 4 0,3-1-4 0,0-1-8 16,0-1 4-16,1 0-12 0,0-1-16 0,1 0-12 0,-1-2-12 0,1 1-24 16,0-1-24-16,-1-1 8 0,1 1 12 0,-1-1 12 0,2-2 8 0,-2 2 8 0,1-2 4 15</inkml:trace>
  <inkml:trace contextRef="#ctx0" brushRef="#br0" timeOffset="61594.5229">15067 11104 35 0,'2'0'32'0,"-1"0"0"0,1 0-4 0,-2 1-4 0,0 0-4 0,0 0 0 0,0 0 0 15,0 2-4-15,-2 0-4 0,1-1 0 0,1 1 0 0,-1 0-4 16,0 1 0-16,1-1 0 0,-2 2-4 0,1 0 4 0,0 0 0 0,0-1-4 0,0 2 0 16,0 0 0-16,0 0 0 0,0 1 0 0,1-1 0 0,-1 1 0 0,0 0 0 15,0 1 0-15,0 1 0 0,0-2-4 0,1 2 0 0,-1 0 0 0,0-1 0 0,0 0 0 16,0 1 4-16,1-1-4 0,0 0 0 0,-1 1 0 0,1-1-4 0,0-2 4 15,0 1 0-15,0 1 0 0,0-3-4 0,0 1-4 0,0-1 0 0,1 0-4 16,0 0-20-16,-1-2-12 0,0 1-20 0,1-2 0 0,0 1 8 0,0-1 8 16</inkml:trace>
  <inkml:trace contextRef="#ctx0" brushRef="#br0" timeOffset="61955.5437">15235 11176 15 0,'4'-3'40'0,"-1"-1"-4"0,0 1-4 16,1 1-4-16,-2-2 4 0,1 2-8 0,0-1 0 0,-1 2 0 0,0-1-4 15,0 1 0-15,-1-1 0 0,0 2-4 0,0 0 4 0,1 0-4 0,-2 0-4 16,1 1 4-16,1 0 0 0,-1-1 4 0,0 2-4 0,2-1 4 0,-1-1 0 0,1 2-8 16,-1 0 12-16,1-2-16 0,3 2 16 0,-2-1-8 0,0 0-4 0,1 1 0 15,0-2 8-15,0 1-12 0,2 1 12 0,0-1-8 0,-1 0 4 0,1 0-4 0,-1 0-4 16,3 1 4-16,-2-2 0 0,0 1-4 0,2 0 4 0,-2-1 0 0,1 1 0 15,0-1 0-15,0 2 0 0,-1-2 4 0,0 0 0 0,0 1-8 0,0 0 4 16,1-1-4-16,-3 1 0 0,1 0 4 0,0 0 0 0,-1-1 0 0,1 2 0 16,-2 0 4-16,0 0 0 0,-1 1-4 0,0 1 4 0,0-2-16 0,-2 2 16 0,1-1-4 15,-1 2 0-15,0 0 0 0,-1 0-4 0,0 0 0 0,0 1 0 16,-1 0 4-16,-1 1-4 0,1 0 0 0,0 0 0 0,-2 1 0 0,2 0-4 0,-2-1-4 0,1 3 4 15,-1-3 0-15,1 1-4 0,-1 1 0 0,-1-1 0 0,2 0 4 16,-1 1-4-16,1-1 0 0,0-1 0 0,0 2-4 0,0-3 0 0,0 0 4 0,1 1-4 16,-1-1 0-16,1-1-4 0,0 0-4 0,1-1-8 0,0 0-12 0,0-1 0 15,0-1-4-15,0 0-8 0,1-2-8 0,-1 1-8 0,1-2-4 0,0 1-8 0,0 0-20 16,0-3-8-16,-1 1 4 0,2-2 12 0,-2 1 12 0,1-1 8 0,0 0 4 16,-1 1 8-16</inkml:trace>
  <inkml:trace contextRef="#ctx0" brushRef="#br0" timeOffset="62453.5722">15057 11511 23 0,'-12'-2'32'0,"0"0"0"16,-1 1-4-16,1-1 0 0,0-2-4 0,0 1 0 0,-1 0 0 15,1-1 0-15,0 0-4 0,1-2-4 0,-1 2 4 0,0-1 0 0,1-1 0 0,0 0-4 16,0 0 0-16,1-1 0 0,0-1 0 0,0 0 0 0,2 1 0 0,0 0 0 15,1-1-8-15,-1-2 12 0,2 1-4 0,1-1-4 0,1 0 8 0,0 0-12 0,1-1 4 16,2 0 4-16,-1 0-4 0,4-1 0 0,-1-1 0 0,2 1 0 0,1-1 0 16,2 1 0-16,0-4 0 0,2 3-4 0,3-3-4 0,1 2 8 0,2 0 4 15,1-2-8-15,2 2 0 0,0-1 8 0,4 0-8 0,-1 1-4 0,2 1 0 16,1-1 0-16,2 0 0 0,-1 2 4 0,2-1-4 0,0 2 0 0,1-1 0 0,1 1 0 15,1 1 0-15,0 2-4 0,0-2 0 0,0 2 0 0,1 2 4 0,-2 0-4 16,1 1 0-16,0 1 0 0,-1 2 0 0,-2 1-4 0,2-1 8 0,-3 4 0 0,1-1 0 16,-3 3 0-16,-1-1 0 0,-1 3-4 0,0-1 0 0,-3 3 8 0,0 0-4 15,-1-1-4-15,-2 2-4 0,0 1 8 0,-2 0-4 0,0 1 4 0,-1 0-4 16,-2 1 4-16,-1 0 4 0,-1 0 0 0,0 1-8 0,-2 0 4 0,-1 0 0 0,-1 1 8 15,0-1-8-15,-3 1 4 0,2 0 0 0,-2 2 4 0,-2-4-4 0,0 3 0 16,-2-1 4-16,-1 1 0 0,1 0-4 0,-2-1 0 0,-1 1 0 0,0-1 0 0,-3 1-4 16,1-1 0-16,-1 0 0 0,-2 0 4 0,1 0 0 0,-2-1-4 15,-1 1 0-15,0-1 0 0,-1-1-4 0,0 1 4 0,-2-1 0 0,1-1-4 0,-1 0 0 16,0-1-4-16,-1-1 8 0,1 1 0 0,-3-2-4 0,1 0-4 0,0-1 4 15,-2-2 4-15,2 0-8 0,-2-1-4 0,2-2 8 0,-1 0-8 0,-1-1 0 0,2-1 4 16,-2-2-8-16,3 0-4 0,-2-1 0 0,1 0-16 0,2-2 8 0,-1-1-12 16,3 0-4-16,-1-1-8 0,2 0-8 0,1-1-12 0,0 0-20 0,1 0-12 15,0 0 8-15,2-1 8 0,1 1 12 0,2 0 4 0,-1-1 12 0,2 1 4 16</inkml:trace>
  <inkml:trace contextRef="#ctx0" brushRef="#br0" timeOffset="63095.6089">16647 10790 27 0,'-2'-3'48'0,"1"1"-4"0,-2 0-4 0,2 0 0 15,0 1-8-15,-1-1 0 0,1 2 0 0,0-2-8 0,0 1 0 0,0 0 0 0,0 1 0 16,0 0-4-16,1 0 4 0,-1 0-4 0,1 1 4 0,0 0-4 0,1 1 0 15,-1 0-4-15,1 1 8 0,1 0 0 0,-1 1 0 0,3-1-4 0,-2 2 0 0,3 0 4 16,-1-1-4-16,0 1 4 0,1 1-8 0,0 0 4 0,1 0-4 0,1 1-4 16,-1 0 8-16,1-1-8 0,-1 2 8 0,3 0-8 0,-2 0 0 0,1-1-4 15,-1 1 8-15,1-1-8 0,0 1-4 0,0-1 4 0,0 2 4 0,1-1-4 16,-1-1 4-16,0 0-4 0,-1 0-4 0,2-1 4 0,-3 1 0 0,1-1-4 0,-1-1 0 15,0 1 0-15,1-2 0 0,-2 2 0 0,0-3-4 0,-1 2 0 0,1-3 0 16,-2 3 0-16,0-2 0 0,1-2 4 0,-2 3-4 0,0-2 4 0,0 0 0 0,0-1-4 16,-1 1 0-16,0-2-8 0,-1 2 8 0,0-2-12 0,0 0-8 0,-1 0-4 15,1-2-4-15,-1 1-16 0,-1 0-12 0,0-1-8 0,-1 1-20 0,1-2-20 16,-3 0-4-16,3 1 12 0,-1 0 12 0,-1-1 8 0,0-1 8 0,0 3 12 15,0-3 4-15</inkml:trace>
  <inkml:trace contextRef="#ctx0" brushRef="#br0" timeOffset="64208.6725">16896 11151 39 0,'-3'-2'44'0,"0"-1"-8"0,0 1-4 0,1 0 0 15,0-1-4-15,-1 1-4 0,2 1-4 0,-1 0-4 0,1-1 0 0,0 1 0 16,0 0-4-16,1 1 0 0,0 0 4 0,0 1-8 0,0 0 0 0,1 1 0 0,1-1 0 16,0 1 0-16,0 1 0 0,1-2 0 0,2 3 0 0,-1-2 0 0,0 1-4 15,1 0 4-15,0 1-4 0,0 0 0 0,1 0 0 0,2 0 0 0,-2 0 0 16,0 0 0-16,0 1 0 0,2-2 0 0,-1 2 0 0,-2 0-4 0,2-2 4 0,-1 1 0 15,0 1 0-15,-1-1-4 0,0-1 4 0,-1 2-4 0,0-1 0 16,0 0 0-16,-2 0 0 0,1 0 4 0,-3 0 0 0,1 0 4 0,-1 0-4 0,-1 0 0 0,0 1 0 16,-1-1 0-16,-1-1 0 0,0 2 0 0,-2-1 4 0,0-1 0 15,1 2 0-15,-3 0-4 0,1 0 0 0,0-2 0 0,0 1 4 0,-1 1-4 0,0-1 4 16,1 0 0-16,-1 0-4 0,1-1-4 0,0 1 4 0,-1 0 0 0,2 0-4 15,1-1 8-15,-1 0-4 0,2-1-4 0,0 2 12 0,1-3-8 0,1 2 0 0,1-2 8 16,0 1-8-16,3-2 8 0,-1 2 0 0,2-2 4 0,1 1-12 0,0-1 8 16,3-1-8-16,-1 0 8 0,1 0-4 0,1 1 0 0,1-2-4 0,-1 1 0 15,1 1-4-15,2-3 8 0,-1 2-4 0,-1-1-4 0,2 0 0 0,-1 1 8 16,1-1-8-16,0 0 0 0,0-1-4 0,-1 2-12 0,1-2 0 0,-1 2-16 0,-1-2-4 15,0 1-8-15,-1 0-20 0,1-1-20 0,-2 0-12 0,0 0 12 0,-1-1 8 16,2 2 12-16,-3-3 4 0,0 3 8 0</inkml:trace>
  <inkml:trace contextRef="#ctx0" brushRef="#br0" timeOffset="64599.6949">17436 11152 7 0,'3'3'92'0,"-2"2"-16"0,1-1-4 0,1 0-4 16,-2 1-16-16,-1 0-4 0,0 0-4 0,0-3-4 0,0 4-4 0,-1-1-4 15,-2 0-4-15,1 1-4 0,-1-2-8 0,0 2 4 0,0-2-4 0,-1 0 0 16,-1 0-4-16,1-1 0 0,0 1 0 0,-2 0 0 0,2 0-4 0,0-1 0 0,0-1 0 15,0 2-4-15,0-2 4 0,0 1-4 0,-1 0 0 0,2 0 0 0,1 0-4 16,0-1 4-16,0 0 0 0,2 1-4 0,0-1 4 0,0 1 0 0,0-1 0 0,2 0 0 16,1 1 0-16,0-2 0 0,1 1 0 0,0 1 0 0,1-1 4 15,1 0-4-15,0 0-4 0,0 0 4 0,3 1 0 0,-2-2 4 0,0 1-12 0,1 1 8 16,1-1 0-16,-1 1 0 0,-1-2 4 0,2 2 4 0,-1-1 0 0,0 0 0 15,0 1 0-15,-2-2 0 0,2 2 4 0,-2 0-4 0,0 0 4 0,-1-1 0 16,0 1 0-16,-1 0-4 0,-1 1-4 0,0-2 0 0,-2 3 0 0,-1-1 0 0,0 0 4 16,0 1-8-16,-2 0 0 0,0-1 0 0,-1 1 0 0,-1 1 0 0,0-1 0 15,0 1 0-15,-1-1-4 0,0 1 0 0,-1-1 0 0,-1 1-4 0,1-1 4 16,-1 0-8-16,1 1 0 0,-1-1-16 0,0 0-4 0,-1 0-20 0,2-1-4 0,-2 1-12 15,0-3-8-15,1 1-12 0,0 0-12 0,0 0-12 0,0-2 4 0,1 1 16 16,0-1 8-16,1-1 12 0,-1 0 4 0,1-1 12 0</inkml:trace>
  <inkml:trace contextRef="#ctx0" brushRef="#br0" timeOffset="65108.724">17032 11623 11 0,'-11'2'32'0,"0"1"0"0,1-2-4 15,-1 2-4-15,-1-3-4 0,2 0 0 0,-1 0-4 0,-1 0 0 0,2 0-4 0,-1-2 0 16,-1 1 4-16,2-2-4 0,-1 1 0 0,0-2 0 0,0 1-4 0,0-2 8 16,0 0 0-16,2 0 0 0,-2-1-4 0,1-1 0 0,0 0 4 0,-1 0-4 15,1-1 0-15,1 0 0 0,0-2 0 0,-1 2 0 0,1-3 0 0,0 2-4 16,-1-2 0-16,1-1 4 0,1 1 0 0,-1-1 0 0,2 1-4 0,-1-1 4 0,1 0-4 15,0 0 8-15,1-1-4 0,0 1-4 0,2 0-4 0,-1 0 8 0,2 0-8 16,0-1 4-16,1 1-4 0,2 0 0 0,-1 0 0 0,2 1 0 0,1 0 4 0,1-1-4 16,2 1-8-16,1-1 12 0,1 0-8 0,3 2 12 0,2-3-12 15,0 2 4-15,3 0 4 0,1 0-4 0,3-1 4 0,1 1-4 0,1-1 8 0,3 2-4 16,1-2 8-16,2 2-4 0,0-1-4 0,3 1 0 0,-1 1 0 0,3-2 0 15,0 2 0-15,1 0 4 0,0 0-8 0,2 1 0 0,0 1 4 0,2 0-8 0,0 0 12 16,-1 2-4-16,1 0-8 0,-1 2 4 0,1 1-4 0,1-1 4 0,-2 2 0 16,-2 1 0-16,1 1 0 0,-2 2-4 0,0 0 0 0,-3 1 4 0,1 1-4 15,-3 0 4-15,-1 3-4 0,0-1 4 0,-4 2 4 0,0 0 0 0,0 1-8 0,-3 0 4 16,-1 0 4-16,-1 1 8 0,-1 1-4 0,-2 0 4 0,-2 0 0 0,0 0 4 15,-3 1 0-15,-1-1 0 0,-1 2 0 0,-3-1 0 0,-1 1 0 0,-1 0 0 16,-3 0 0-16,-1 1 0 0,-1-1 0 0,-2 1 0 0,-1-1-4 0,-2 2 0 0,-1-2-4 16,-1 1 4-16,-3 0-4 0,0 1-4 0,-1 0 0 0,-2 1 0 0,0-2-4 15,-3 0 0-15,0 2 0 0,-1-2 0 0,0 3 0 0,-2-2-4 0,-1 0 4 16,0-1-4-16,-2 1 0 0,1-2 4 0,-1 1-4 0,-1-2 0 0,0 0 0 0,0 0 0 15,1-2-4-15,-2 0-4 0,1-2-4 0,-1-1 0 0,1 0-4 0,-1-2-4 16,1-1-4-16,0-1-8 0,0 0-4 0,0-3-4 0,1-1-4 0,1-1-12 0,0-1-8 16,-1-1-8-16,2-1-4 0,2-3-24 0,-2 0-16 0,2 0 8 15,1-2 16-15,1 1 12 0,1-2 8 0,0 0 8 0,0 0 4 0,1 0 12 0</inkml:trace>
  <inkml:trace contextRef="#ctx0" brushRef="#br0" timeOffset="65983.7741">14350 11583 31 0,'4'-5'40'0,"0"0"-4"0,-1 0-4 0,1 1 0 0,0-1 0 16,0-1 0-16,-2 2 0 0,2-1-4 0,-2 2 0 0,1-1 0 0,0 1 0 0,-2 1-4 16,2-2-4-16,-2 1 4 0,0 1-4 0,1 1 0 0,-1 0 4 0,0-1 4 15,-1 1-8-15,1 0 8 0,-1 1 0 0,0-1-4 0,0 2 0 0,0-1 4 16,0 1 4-16,0 0-4 0,-2 2-4 0,-1 0 4 0,0 1-4 0,0 0 4 0,-1 2 0 15,0 1-8-15,-2 0 4 0,-1 1-4 0,-1 2-4 0,0 1 4 0,-1-1-4 16,-1 2-12-16,0 1 16 0,-2 2-4 0,0-3-4 0,0 5 4 0,-1-2-4 16,-1 2 0-16,0 0-4 0,-1 1 4 0,0 1-4 0,-2 1 0 0,2-1 0 15,-3 3-4-15,2-2 4 0,-2 1 0 0,0 0-4 0,2 0 0 0,-1 0 0 0,2-1 0 16,-1-1-4-16,1 0 0 0,1-1 0 0,1-1 4 0,1-1-4 0,-1-1 4 15,3 0-4-15,-1-2 4 0,2-1-4 0,1-1 0 0,0 0 0 0,1-1 0 0,1-2 0 16,2 0 4-16,0-2-4 0,1 0 0 0,1-2 0 0,0 0 0 16,1-1 0-16,1-1-4 0,0-2-4 0,1 0 0 0,1-1-4 0,0 0-12 0,1-2-4 15,0-1-16-15,0 1 0 0,1 0-12 0,0-2-12 0,1 1-8 0,-2-1-16 16,1 0-16-16,-1 1-4 0,2-1 8 0,-2 0 16 0,0 0 8 0,1 1 12 0,-1-1 4 15,2 1 12-15</inkml:trace>
  <inkml:trace contextRef="#ctx0" brushRef="#br0" timeOffset="66678.8137">13604 12303 31 0,'-1'-3'36'0,"0"0"-4"0,1 0-4 0,-1 0-4 0,1 1 0 0,0 0 0 15,1 0 0-15,-1 0 0 0,1 1-4 0,1 1 4 0,-1 0-4 0,0 1 0 0,1 1 0 16,0 0-4-16,-1 0 4 0,1 1 0 0,-1 1 0 0,1 1 0 16,0 0 0-16,-1 0-4 0,0 2-4 0,1 0 4 0,0 0-4 0,0 1 0 0,1 0-4 15,-1 2 4-15,0-1-4 0,2 1 0 0,-1 0 0 0,0 0 0 0,1 2-8 16,0-2 4-16,2 3 4 0,-1-3-4 0,-1 1 4 0,1 0-4 0,-1 1 4 0,2-2-4 15,0 1 0-15,0 0-8 0,0-2 4 0,0 2 0 0,0-2 8 0,1 0-8 16,-1-1-4-16,1 0 12 0,-1 1-12 0,1-1 8 0,0-2 4 0,-1 2-8 16,0-1 4-16,0-2 0 0,-1 1 4 0,2 0 8 0,-2-1-8 0,-1 1-4 15,1-1 0-15,-2 0 4 0,0 0 4 0,0-1-4 0,-1 2-4 0,-1-2 8 0,1 1-4 16,-2 0 0-16,-2 0-4 0,1 0 4 0,-1 0 0 0,-1 1 0 0,0-1 0 15,-1 0-4-15,-1 1 4 0,0-1-4 0,0 0-4 0,-2 1 8 0,0-1-8 0,0 0-4 16,0-1 0-16,-2 2 8 0,1-3 4 0,0 2-8 0,-1-1-4 16,-1-1 4-16,1 0 0 0,0 0 0 0,-2-2 0 0,2 2 0 0,-1-3 0 0,-1 0-4 15,2 0 8-15,0-3-4 0,-1 2 4 0,1-2-8 0,0-1 4 0,1 0-4 16,0-2 4-16,0 0 4 0,2-2-8 0,0 1-4 0,-1-2 4 0,2-1 0 0,2 0 0 15,0-1 4-15,-1 0-4 0,3-1 0 0,0-1 0 0,0 0 0 0,2 0 8 16,1-1-4-16,-1 0 0 0,2-1 0 0,0-1-8 0,1 2 8 0,1 0 0 16,1-1-4-16,0 0 8 0,-1 1-4 0,2 0 4 0,0-1-4 0,2 2-4 15,-1 1 8-15,-1-2-4 0,3 3 4 0,-2 0 0 0,1 0-4 0,0 1 0 0,1 1 0 16,-2 0 4-16,1 1 4 0,0 1-8 0,-1 1 8 0,0 1-4 0,1-1-4 15,-1 2 0-15,-1 1 4 0,1 0-4 0,-1 0 4 0,2 1-4 0,-3 0 4 0,1 1-4 16,0 0 0-16,1 0 0 0,-2 1-4 0,1 0 4 0,-1 0 0 0,0 0 0 16,1 0-4-16,-1 1 4 0,0-1-4 0,0 1 4 0,-1-1-8 0,1 1 0 15,0-1-16-15,-2 0-8 0,1 2-16 0,-1-2-8 0,0 0-28 0,0 2-16 0,0-2 4 16,-1 2 12-16,0-1 8 0,-2 1 8 0,2-1 12 0,-2 0 4 0</inkml:trace>
  <inkml:trace contextRef="#ctx0" brushRef="#br0" timeOffset="67033.8341">13973 12419 47 0,'5'-2'56'0,"-1"-1"-4"0,0 1-4 16,0-1-8-16,1 1 0 0,0-1 0 0,-1 0-8 0,0 2 0 0,0-1-4 15,0 1-4-15,0 0 8 0,1-1 0 0,-1 2-12 0,1 0 4 0,-1 0-8 0,1 0 0 16,0 2 0-16,0-1-4 0,1 0 8 0,-1 1-8 0,0 1 0 0,0 0 0 15,0 0 4-15,-1 0-16 0,3 1 16 0,-2 0-4 0,0 1 0 0,0 0-4 0,-1 0 0 16,0 1-4-16,1-1-4 0,-2 2 4 0,-1-1 0 0,1 1 4 16,-2 0-4-16,0 0 0 0,-1 1 0 0,-1 0 0 0,0-1-8 0,0 2 4 0,-2-1 4 15,0 0 0-15,-1 0 0 0,0 0 0 0,0-1 0 0,0 1 0 0,-1-1 0 16,0 1 0-16,1 0 0 0,-2-2 0 0,1 0 0 0,-1 1-4 0,1-1 4 0,0-1 4 15,1 2-8-15,-2-1-4 0,2-2 4 0,1 0 4 0,-1 1-8 0,2-1 8 16,0 0 0-16,1 0 8 0,0-2-8 0,1 0 4 0,1-1 0 0,1 1-8 16,1 0 8-16,0-2-4 0,0 0 0 0,2 1-4 0,1-1 4 0,0 0-4 15,0-1 0-15,0 1 0 0,1 0 0 0,2 0 8 0,-2-1-4 0,1 1-4 0,1-1 0 16,1 1-4-16,-2-2 0 0,1 2 4 0,2-1 0 0,-2 0-4 0,0-1 4 15,2 1-8-15,-1-1 4 0,-1 1-4 0,2-2-16 0,-2 1-12 0,0 0-12 0,-1-1-8 16,2 1-20-16,-2 0-24 0,-1-1 0 0,1 1 8 0,-1-1 8 0,-1 1 16 16,-1 0 8-16,1-1 4 0,-2 2 4 0</inkml:trace>
  <inkml:trace contextRef="#ctx0" brushRef="#br0" timeOffset="67541.8631">13777 12927 27 0,'-11'2'36'0,"0"1"-4"0,-2-3-4 16,3 0 0-16,-2 1-4 0,-1-2 0 0,1 1 0 0,0-3-8 0,0 1 4 15,-1-2 0-15,1 0 0 0,-1 0-4 0,0-2 0 0,0 0 0 0,0 0-4 0,0-1 4 16,0-1-4-16,-1-1 4 0,1 1 0 0,-2-2 0 0,3 0 0 0,-2-2 0 15,2 1 0-15,-1-2-4 0,1 1 4 0,1-2-4 0,-1-1 0 0,0 1-12 0,2-2 8 16,1 0 8-16,-1-1 0 0,2-1 0 0,0 0 0 0,1-1-4 16,1-1 0-16,1-1 0 0,2 0-8 0,0 0 0 0,2 0 0 0,1 0 0 0,0 0 4 15,3 0-4-15,0 0 0 0,2 1-8 0,1 0 4 0,1 2 0 0,2-1 8 16,0 1-4-16,4 1-8 0,-2 0 16 0,3 0-4 0,2 3-8 0,1-1 0 0,0 3 4 15,2-1 4-15,0 2 0 0,2 1-4 0,2 1-8 0,-1 0 16 0,2 3-8 16,1 0 0-16,1 3 0 0,0 0 4 0,1 1-4 0,-1 0 0 0,2 4 0 16,0-1 4-16,1 0 0 0,-1 3-8 0,0-1 8 0,0 2 0 0,0-1-8 0,1 3 4 15,-1-2 0-15,0 2 4 0,-2 1-8 0,0-1 8 0,1 3-4 0,-3-1 0 16,1 1 4-16,-1 0 0 0,-2 1 0 0,0 0 4 0,-1 2 4 0,-1-1 0 15,-1 2-4-15,-1-1 4 0,-2 2 0 0,-1 0 0 0,-2 1 4 0,0-1-4 0,-2 2 0 16,-1-1 4-16,-2 2-4 0,0 0 4 0,-3 0 0 0,-1 1 0 0,-2 0 0 16,-1 0-4-16,-2 1 0 0,0 1 0 0,-3-1-4 0,-1 1 0 0,-3 0-4 15,1 0 4-15,-3 0 0 0,-2 0-4 0,-1 0 0 0,-1-1-16 0,-1 1 16 0,-3 0-4 16,0-2 0-16,-1 1 0 0,0-1 0 0,-2-1 0 0,-1 0 0 0,0-1 0 15,0 0 0-15,-2-3-4 0,0 1 0 0,-1-3 0 0,1 1 0 0,-1-2 0 16,-1-1 0-16,1-1 0 0,-1-2 0 0,2 0-4 0,-2-1 4 0,0-2 0 16,2-1 0-16,0 0 0 0,2-2-4 0,-1 0-4 0,1-2-8 0,3 0-4 0,-1-1-8 15,3 0-16-15,1-1-12 0,0 0-12 0,2-1-16 0,1-1-16 0,1 0-24 16,2-1 0-16,-1 1 12 0,3-1 16 0,1 0 8 0,0 1 8 0,2-2 8 0,0 2 12 15,3-1 4-15</inkml:trace>
  <inkml:trace contextRef="#ctx0" brushRef="#br0" timeOffset="68627.9253">15742 12098 31 0,'1'-5'52'0,"0"-1"-4"0,0 2-4 0,0-1 4 0,0 0 0 0,0-1-4 0,1 3 4 15,-1-2-8-15,-1 0 0 0,0 2 0 0,0-1-8 0,-1 1-4 0,1 0-4 16,-2 1 0-16,2-1 0 0,-1 1 0 0,0 0 4 0,0 2-8 0,1 0 4 0,0 0 0 15,0 1-4-15,0 2 4 0,0-2 0 0,1 3 4 0,0 1 0 0,0 0 0 16,2 3-4-16,-2-2 0 0,1 2 0 0,0 1 0 0,-1 1 0 0,1 0-4 16,-1 0 4-16,2 2-4 0,-1 0 0 0,0 1-4 0,0 0 0 0,0 1-4 15,1-1 0-15,-1 1-4 0,1 0 4 0,1 1-4 0,-2 0 0 0,1-1 0 0,-1 0 0 16,1 1-4-16,0-1 0 0,-1-2-4 0,1 1 4 0,-1-1-4 0,1 0 0 15,-2-3 4-15,2 2-4 0,-1-2 0 0,1-1 0 0,-2 2-4 0,1-4 0 0,1-1 4 16,-2 0-4-16,1 0-4 0,-1-1 0 0,0 0-8 0,1-3-4 0,-1 1-8 16,0-1-4-16,-1-1-8 0,1 0-12 0,-1-1 0 0,0 1-8 0,-1-3-4 15,1 1-4-15,-1-1-4 0,0 0-16 0,-1 0-12 0,1 0 4 0,-1 0 8 16,0 0 8-16,0-1 12 0,-1 1 8 0,1 1 8 0,0-2 4 0</inkml:trace>
  <inkml:trace contextRef="#ctx0" brushRef="#br0" timeOffset="69005.9468">15612 12456 23 0,'-3'-2'56'0,"0"-1"-8"0,1 2-4 0,-1-2-4 0,3 0-4 0,-2 1-8 0,1-1 0 0,0 1 0 16,1-1-4-16,0 1 0 0,0-1 0 0,2 1 0 0,-1 0-4 0,0 0 0 15,2 1 4-15,-1 1-4 0,2-1 0 0,-2 0-12 0,2 1 12 0,-1 0-8 0,2 1 0 16,0 0-8-16,-1 0 12 0,1 1-4 0,0 0-8 0,-1 0 4 16,2 1-4-16,0-1 4 0,-1 1 4 0,1 0-4 0,-1 0-4 0,0 1 4 0,0-1-4 15,0 1 8-15,0 1-4 0,-1-2-16 0,0 2 16 0,-2 0 0 0,1 1 0 16,-1-1 4-16,-1 2-4 0,0-1 4 0,-1 1-4 0,-1-1-4 0,0 0-4 0,-1 1 12 15,0 0-4-15,-1 0-4 0,-1 0 0 0,0 0-4 0,0 0 4 0,-2 0 0 16,1 0 0-16,0 1 4 0,0-2-8 0,-1 2 4 0,0-1-4 0,0-1 4 16,1 0 4-16,0 1-4 0,-1 0-4 0,1-1 0 0,-1 0 0 0,2-1 0 15,0 2 0-15,1-3 0 0,0 0 0 0,2 0 4 0,-1-1 0 0,1-1-4 0,2 2 4 16,0-3 4-16,1 1-4 0,1-1 0 0,1 0 0 0,0-1-4 0,2-1 0 15,0 0 8-15,1-1 4 0,-1 1-8 0,3-1 0 0,0 0-4 0,-1 0-4 0,1-1 0 16,1 0 8-16,-1 1-4 0,0-1-8 0,1 1 8 0,-1 0-8 16,0-1-4-16,0-1-12 0,0 2-8 0,0-1-12 0,-1 0-16 0,0 1-4 0,-1-1-32 15,-1 0-4-15,1-1 8 0,-2 2 8 0,1-2 16 0,-2 2 4 0,0-1 8 16,-1 0 4-16</inkml:trace>
  <inkml:trace contextRef="#ctx0" brushRef="#br0" timeOffset="69467.9734">15919 12453 3 0,'4'-3'36'0,"-1"-1"-4"0,0 1-4 0,1 1 0 0,0 0 0 15,-1 1 0-15,0 0-4 0,0 2 4 0,0 0 0 0,0-1 0 0,0 2-4 16,-1 1 0-16,1-1 0 0,-1 2-4 0,2-1 4 0,-2 2 0 0,1-2 0 16,-1 2-4-16,0 0-4 0,1 1 4 0,0-1-12 0,0 1 8 0,1 0-8 15,0 0 4-15,1 1 4 0,-1-2 0 0,1 2-4 0,0 1-8 0,0-3 8 0,0 2-4 16,1-2 4-16,-1 3-8 0,0-1 8 0,1-2 4 0,0 2-8 0,-1-2-4 15,1 1 4-15,0-3 4 0,0 2 0 0,-1-1-4 0,0 0-4 0,0 1 4 0,1-2-4 16,-2 0 4-16,0 0 4 0,0 0-4 0,-1-1 0 0,0 2 0 16,-1-2 0-16,0 0 8 0,0 1-12 0,0-1 0 0,-2 0 4 0,0 0 0 0,-3 1-8 15,2-1 4-15,-2 0 0 0,0 0 0 0,0 1 0 0,-2-1-4 0,0 0 0 16,-1 2 4-16,-1-3 0 0,-1 2 0 0,0-1 0 0,0 0 0 0,-2 1 4 0,0-1-4 15,0 0-4-15,-2 0 0 0,2 0-4 0,-3 0 4 0,2 0 0 0,-1-1 0 16,-1 0 0-16,1 0-4 0,-1 1 4 0,0-2 0 0,1 0 0 0,-1-2 4 16,1 1-4-16,2-1 0 0,-3 1-4 0,3-3 4 0,-1 1 0 0,2-1 0 15,0 1-4-15,2-2-4 0,-1-1 0 0,2-1 8 0,0 1 0 0,2 0-4 0,1-3 4 16,0 1-4-16,2 0 8 0,1-1-8 0,1 0 4 0,-1-1 0 0,3 0-4 15,1 1 4-15,0-1 0 0,1-1-4 0,1 1 0 0,2-2 4 0,0 2 0 0,1 0 0 16,0 0 0-16,2 0 0 0,-1 0-4 0,2 1 8 0,-1-1-4 16,0 1 8-16,1 2-8 0,0-2 4 0,0 2 0 0,0 0-4 0,0 0 4 0,0 2 0 15,1-1-4-15,-2 2 0 0,2 0 4 0,-3 0 0 0,3 1-4 0,-3 1-4 16,0 0 4-16,2-1 8 0,-2 1-4 0,-1 1-4 0,0 0 0 0,1 1-4 0,-1 0 4 15,0 0 4-15,-1 0-4 0,0 0 0 0,-1 1 4 0,-1 0-8 0,2-1 4 16,-2 1-4-16,0 0 0 0,-1 0-4 0,1 0 4 0,-2 0-12 0,1-1-12 16,-1 0-16-16,-1 1-12 0,-1-1-16 0,0 1-24 0,0-1-4 0,-1 1 8 15,0-1 12-15,-1 0 8 0,-2 0 8 0,0 0 8 0,1 1 4 0</inkml:trace>
  <inkml:trace contextRef="#ctx0" brushRef="#br0" timeOffset="70003.004">15629 12893 27 0,'-9'2'40'0,"1"0"-4"0,1-2-8 15,-1 1 4-15,-1-1 0 0,2 0-4 0,-1-1 0 0,-2 1 0 0,2-2-4 16,0 0 0-16,0-1 0 0,-1 1-4 0,0-1 4 0,1 0-4 0,0-1 0 16,-1-1-4-16,1 0 0 0,0-1-4 0,-1 1 0 0,2-2-4 0,-1 0 4 15,2-1 0-15,-2 0 0 0,1 0 0 0,1-2-4 0,0 1 0 0,1-2 0 0,1 0 4 16,1-1-4-16,-1 0 0 0,1 0 4 0,3-2-4 0,-1 0 0 0,2 0-12 15,0-2 12-15,2-1-8 0,2 1 4 0,0-1 0 0,0 0 0 0,3-2 0 0,0 1 0 16,2-1 4-16,1 0 0 0,0 0-12 0,3 0 8 0,1 0-4 16,1-1 4-16,2 1 4 0,-1 1 0 0,4-1-4 0,-2 1 4 0,4 1-12 0,1 0 4 15,0 0 0-15,-1 2 0 0,4 1 0 0,-1 0 8 0,1 1-12 0,0 1 4 16,1 1 4-16,-1 2-4 0,1 0 0 0,-2 2 4 0,2 1-4 0,-1 1 4 0,1 1 4 15,-1 2-12-15,-1 0 8 0,1 3-8 0,-2 0 8 0,0 1 0 0,0 2 4 16,-1 0 0-16,0 2-4 0,-2 0-4 0,1 1 0 0,-2 2 12 0,-1-1 0 16,-1 2-8-16,-1 0 4 0,-1 1 0 0,-1 0 0 0,-1 0 0 0,0 1 4 15,-2 1 0-15,-1 0-4 0,-1 1 4 0,-1 0 4 0,0-1 0 0,-2 2 4 0,-2 0 0 16,1 0-4-16,-2 2 0 0,-1-1 0 0,0-1 0 0,-3 2 8 0,0-1-8 15,-1 1 0-15,-2 0 4 0,0 1-4 0,-1 0 4 0,-3-1 0 0,0 1-4 0,-1-2 0 16,-2 2-4-16,-1 0 4 0,1 0-8 0,-3-1 4 0,-2 1 0 16,1-1-4-16,-3-1 0 0,0 0 0 0,-2 2 0 0,0-4-4 0,-2 1 4 0,-1 1-8 15,1-3 4-15,-3 1-4 0,0-1 0 0,-1-1 0 0,1-1 0 0,-2-2-4 16,1 1 0-16,-2-2 0 0,1 0 0 0,-1-1 0 0,1-3-8 0,0 0-4 0,-1-1-4 15,2-2 0-15,-2 1-12 0,2-2-4 0,0-2-4 0,1 1-4 0,0-3-4 16,3 1-8-16,-2-1-4 0,1 0-8 0,3-2-12 0,-1 0-16 0,1 0-12 16,3-1 8-16,0 0 12 0,1 0 12 0,1 0 8 0,1-2 4 0,1 1 4 0</inkml:trace>
  <inkml:trace contextRef="#ctx0" brushRef="#br0" timeOffset="71369.0821">13619 13127 11 0,'0'-2'52'0,"-1"0"0"0,1 1 0 0,0-1 8 16,0 0-12-16,0 0 12 0,-1 0-8 0,1 0 4 0,0 0-8 0,0 0 0 0,-1 1 0 15,0-1-8-15,1 1-4 0,-2 1 0 0,0 0 0 0,1 0-4 0,-2 0 0 16,0 0-4-16,0 2 0 0,-1 1 0 0,-1 0 0 0,0 1-4 0,1 1 0 16,-1 0 0-16,-1 2 0 0,-1 0 0 0,0 3-8 0,-1-1 0 0,0 1 0 15,-1 3 0-15,-1-1-4 0,0 1 4 0,0 1-4 0,-1 1 0 0,-1 2 0 0,-1-2-4 16,1 2-4-16,-1 2 0 0,-1-1 0 0,0 1 4 0,0 1-4 0,0-1 0 15,0 1 0-15,0-2 0 0,-1 1 0 0,3 1 0 0,-1-3 0 0,0 2-4 0,1-3-4 16,-1 1 4-16,2-1 0 0,1-1 0 0,-2-1 0 0,3-1 0 16,0-1 0-16,0-1 0 0,2 0-4 0,0-2 0 0,1 0-4 0,0-1-8 0,1-2-4 15,2 0-8-15,0-2-16 0,0 0-4 0,3-2-12 0,-1 0-8 0,1-2-8 16,0 0-12-16,1 0-20 0,0-3-4 0,1 1 8 0,0-1 12 0,0 0 12 0,0-1 8 15,1 1 8-15,0-1 8 0,0 1 8 0</inkml:trace>
  <inkml:trace contextRef="#ctx0" brushRef="#br0" timeOffset="71818.1078">12945 13915 3 0,'-7'-1'52'0,"1"0"-4"15,-1-1-4-15,0 1-4 0,0 0-4 0,1 0 0 0,0-1-4 0,2 1 0 16,-2-1 0-16,0 2-16 0,2-2 4 0,0 2 0 0,0 0 0 0,1-1 4 0,1-1-12 15,-1 2 0-15,1 0 0 0,1 0 0 0,0 0 4 0,1 0 0 0,1 0-4 16,0 0-4-16,0 0 0 0,2 3 0 0,0-3 0 0,1 2 4 0,0 0-4 16,2-1 4-16,0 0-8 0,1 0 0 0,-1 0 0 0,1 0 8 0,2 0 0 15,-2-1 0-15,1 2 4 0,0-2 0 0,0 1 0 0,0 0 0 0,1-1-8 0,-1 1 8 16,1 1 0-16,-2-2-4 0,1 1 4 0,-1 1 4 0,1-1 0 0,0 0 0 15,-2 2 4-15,0-1 0 0,0 0 0 0,0 1-8 0,-2 1 4 0,-1 0 0 0,0 2 0 16,1-1-8-16,-3 1 4 0,1 1 0 0,-2 0-4 0,1 1 0 16,-2 1 0-16,0 0-4 0,-1 2 0 0,1 1 0 0,-2-3 0 0,1 4 0 0,-1-1-4 15,0 1 0-15,0-1 4 0,0 2-4 0,-1-1 0 0,1 0 0 0,0 0 0 16,-2 1-4-16,2-1 0 0,0 0 4 0,0 0 0 0,0-2-4 0,0 1 0 0,-1-1 0 15,2-1 0-15,0 0 0 0,0 0 0 0,0-2 0 0,1 0 0 0,0-1 0 16,-1 0-4-16,1-1 0 0,1-2-4 0,0 1-8 0,0-2-4 0,0 1-4 16,0-3-4-16,0 1-16 0,1-1-8 0,0 0-4 0,0-2-12 0,0-2-8 0,0 2-16 15,0-3-16-15,1 1 4 0,-1-1 8 0,0-1 12 0,1 1 8 0,-1-2 8 16,3 1 8-16,-2-1 8 0</inkml:trace>
  <inkml:trace contextRef="#ctx0" brushRef="#br0" timeOffset="72057.1214">13210 14030 7 0,'5'-4'40'0,"0"1"-4"0,0 1 0 0,-1 0-4 16,0 1 0-16,0-1-4 0,0 1 4 0,-1 0-4 0,0 1 8 16,0-2 0-16,2 2 8 0,-2 1 0 0,-1 0-8 0,1 0 4 0,-1 0-4 0,1 1 0 15,-2 1-4-15,1 0 0 0,-1 1-4 0,0 1 0 0,0-1 0 0,-1 2-4 16,1-1 0-16,0 1-4 0,0 1-4 0,0 0 0 0,-1 0-4 0,0 0 4 0,0 1-8 15,0 0 4-15,0 0-4 0,-1 0 0 0,0 1 0 0,0-2-4 0,0 2 0 16,1 0-4-16,-1 0 0 0,0-1 0 0,-1 0 4 0,1-1-4 0,1 1 0 16,-1-1-4-16,0 0-16 0,0-1 4 0,1-1-12 0,-1 0-4 0,1-1-8 15,0-1-8-15,0 1-8 0,-1-3-8 0,1 1-20 0,0-2-12 0,-1 0 4 0,0 0 8 16,1-2 12-16,-1 1 12 0,1-1 4 0,0 0 4 0</inkml:trace>
  <inkml:trace contextRef="#ctx0" brushRef="#br0" timeOffset="72626.154">12982 14512 7 0,'-11'-1'36'0,"1"-1"-4"0,1 0 0 0,-2-2-8 16,2-1 0-16,0 1-4 0,-2-1 0 0,2-2 0 0,-1 0-4 0,-1-2 0 15,1 1 0-15,1-2-4 0,-2 1 4 0,2-2 0 0,-1-1-4 0,1 1 0 0,-2-1 4 16,2 0-4-16,0-3 0 0,-1 1 0 0,2 1 0 0,-1-2 0 0,0-1 4 15,2 1-4-15,0-1 4 0,2 0-4 0,-1-1 0 0,0-1 0 0,2 0-8 0,1 0 4 16,1-2 8-16,0 1-4 0,2 1-4 0,0-2 0 0,2 0 0 0,1 0 4 16,0-1 0-16,2 2-4 0,2-1 4 0,1 0 0 0,-1 0-12 0,2 1 4 15,2-1 4-15,0 2-8 0,2 0 12 0,0 0-12 0,3 2 4 0,-2-1 0 0,3 2 4 16,0-1-12-16,3 2 8 0,-1 1-4 0,2 0 8 0,1 1 0 0,2 1-8 15,-1 2 4-15,0-1-4 0,3 3 4 0,0-1-4 0,0 3-4 0,0 0 12 0,1 0 0 16,0 2 0-16,0 2-4 0,0-1-4 0,0 2-4 0,2 2 8 16,-3-2-4-16,0 2 4 0,1 1-12 0,-1 1 8 0,-1 1 8 0,0 0-8 0,0 0 4 15,-2 1-4-15,0 1-4 0,-1 0 8 0,0 0 0 0,-2 2-8 0,-1-1 4 16,-2 1 0-16,-1 1 0 0,-1 0-4 0,-1 1 8 0,-2 0 0 0,-1 0 0 0,-1 2 0 15,-2 0 0-15,0 0 0 0,-2 1 0 0,-2 0 0 0,1 0 4 0,-3 2 4 16,0-1-4-16,-2 1-4 0,0 0 4 0,-1 0-4 0,-2 1 4 0,0-1 4 16,-1 1-4-16,-2 0 4 0,0 1-4 0,-1-1 0 0,-1 0 4 0,0 0-8 15,-3 2 4-15,0-1-4 0,-1-1 0 0,0 0 4 0,-1 1 0 0,-2-1 0 0,1 1-4 16,-2-2 0-16,0 1-4 0,-2 0 4 0,0-2-4 0,0 1 0 0,-1-1 8 15,0-2-8-15,-3 1 0 0,2-1 4 0,-1-1-4 0,0 0 0 0,-2-2 0 0,1 1 0 16,1-2 0-16,-1-1 4 0,-1-1-4 0,2 0 0 0,-1-1-4 16,-1-3 8-16,2 1 0 0,0 0-4 0,0-3 0 0,0 1 0 0,2-2 0 0,0-1-8 15,1-1 8-15,0 0-4 0,3-1 0 0,-2-1 0 0,1 0 0 0,3 0-8 16,1-1 0-16,-1-2-16 0,3 1-4 0,1 0-8 0,0-1-8 0,1 1-12 0,2-1-20 15,0-1-24-15,0 1 8 0,2-1 8 0,1 2 8 0,0-2 12 0,2 1 8 16,-1 1 4-16</inkml:trace>
  <inkml:trace contextRef="#ctx0" brushRef="#br0" timeOffset="74418.2564">17465 11937 47 0,'2'0'80'0,"0"1"-4"0,-1 0-4 0,0-3-12 0,1 3-8 16,-2 0 4-16,0 1 0 0,0 1-12 0,0-1 4 0,2 1 0 0,-2 1-8 15,0 0 4-15,0 0-4 0,0 0-4 0,-2 1 0 0,2 0-4 0,-1 2 0 0,0-2 0 16,0 2 0-16,0 0-4 0,-1 2 0 0,-1-2-12 0,1 2 8 0,0 1-4 15,-2 0 0-15,1-1-4 0,0 1 4 0,-1 1-4 0,-2 0 0 0,2 0-4 16,-1 1 0-16,1 0 4 0,-1 1-4 0,0 0-4 0,-1 0 4 0,0 1-4 0,1 0 0 16,-1 0 0-16,1-1 0 0,-1 1-4 0,-1-1 4 0,1 1-4 0,2 0 0 15,-1 0 0-15,0-2 0 0,0 2 0 0,-1-2-4 0,2 1 4 0,0-1 0 0,0 0 0 16,1-1-4-16,0 0 4 0,0-2-4 0,1 0 4 0,-1 1 0 0,1-2-4 15,1 1 0-15,-1-2 0 0,2 0 0 0,-1 0 4 0,0-1-4 0,1-1 0 16,0 0 0-16,0-1 4 0,1 0-4 0,-1-1 0 0,1 0 0 0,-1-1 0 16,1 1 4-16,1-1-4 0,-1-2 0 0,0 0 0 0,2 0 0 0,-1-2-8 0,0 2 4 15,0-3-8-15,-1 1-8 0,2-1-8 0,-2-1-12 0,2 1-12 0,-1-1-8 16,-1 0-8-16,2 0-12 0,-2-1-4 0,0 1-20 0,1-1-16 0,-1 1 0 0,0-1 16 15,2 1 8-15,-2 0 16 0,-1 0 4 0,0 1 12 0,1 0 4 16,-1 0 8-16</inkml:trace>
  <inkml:trace contextRef="#ctx0" brushRef="#br0" timeOffset="74908.2845">17188 12712 23 0,'-5'-1'44'0,"0"-1"-12"0,0 1 4 0,1-1-4 0,-2 0 0 0,2 1-4 16,0 0-4-16,0 0 0 0,0 1-4 0,0-1-4 0,2 1 0 0,-1 0 0 16,2-2 0-16,-2 2-4 0,2 0 4 0,1 0-4 0,0 0 4 0,1 0-8 0,2 0 8 15,-2 0-4-15,2 0 0 0,1 2-4 0,0-2 4 0,1 0 8 0,1 0-8 16,-1 0 0-16,3 0 4 0,-1 1 0 0,1-1-8 0,2 0 4 0,-2 0 0 0,1 0 0 15,1 0 4-15,0-1 0 0,0 1-4 0,0 0-4 0,1-2 4 0,0 1 4 16,-2 0 0-16,2 1-4 0,-1-2 0 0,0 2-4 0,0-1 0 0,-1 0 0 16,-1 0 4-16,1 1-4 0,-1-1 8 0,-1 1 4 0,0 0-4 0,0 1 8 15,-1-1-4-15,-1 1-4 0,-1 1 4 0,0 1 4 0,-1 0-4 0,0 1 0 0,-1 0-4 16,-1 0 4-16,0 1 0 0,1 1 0 0,-4 1-4 0,1-1 0 0,0 2-4 15,0 0 4-15,-1 0-4 0,-1 0 0 0,1 2-4 0,0-1 0 0,-1 1 0 16,1 0 0-16,-1 0-4 0,1 0 4 0,-1 1-4 0,1-1 0 0,-2 0 0 0,2-1-4 16,-1 2 4-16,2-2-4 0,-2 0 4 0,2 0-4 0,-1-2 0 0,1 2 0 15,0-2 4-15,0-1-4 0,0 1 0 0,0-1 4 0,0-1-4 0,1 0 0 0,0-1 0 16,0 0 0-16,1 0 0 0,-1-2-4 0,0 0-8 0,1 0-4 0,0 0-4 15,0-1-8-15,-1-1-16 0,0 0-8 0,1-1-12 0,0-1-8 0,0 0-12 16,-1 0-16-16,1-1-20 0,-1-1 8 0,0 1 12 0,0-1 12 0,0-1 12 16,0 0 8-16,0 0 8 0,1-1 8 0</inkml:trace>
  <inkml:trace contextRef="#ctx0" brushRef="#br0" timeOffset="75198.3011">17505 12733 23 0,'9'-7'48'0,"0"1"0"0,0 0-4 16,1 1-8-16,-1 0 4 0,-1 1-4 0,2 0 0 0,-2-1 0 0,0 3-8 15,-1-2 0-15,1 1 4 0,-1 3-4 0,-1-3 0 0,0 1 4 0,-1 2-8 0,1-1-4 16,-1 1 4-16,-1 1 0 0,0-1 0 0,0 1 0 0,-1 1-8 0,-1 0 4 15,1 0-4-15,-2 1 0 0,3 0 0 0,-3 1-8 0,0 0 4 0,1-1-8 16,-1 2 8-16,0 0-4 0,-1-1 0 0,1 2 0 0,-1-1 0 0,0-1 0 16,0 1-8-16,-1 2 8 0,1-2 0 0,0 1-8 0,0-1 4 0,-1-1 0 0,0 1 4 15,1 1 0-15,-1-1-4 0,0-1 0 0,0 0 4 0,1 0-8 0,-1 0 8 16,1-1-4-16,-1 0 0 0,-1 1 0 0,2-1 4 0,0-1 0 0,0 1-4 0,2-1 0 15,0 0 0-15,-2-1 0 0,3 1 0 0,-1 0 0 0,1-1 0 16,-1 0-4-16,2 0-4 0,0 0 4 0,1-1 8 0,-1 1-8 0,2 0-4 0,0-1 8 16,1 0 0-16,-2 0-4 0,4 0 0 0,-3 0 0 0,2 0 4 0,-1 0-4 15,0 0-4-15,3 1 4 0,-2-1-4 0,-1 0 0 0,2 0-4 0,0 0-8 0,-2-1-12 16,0 1-12-16,2 0-4 0,-3 0-16 0,0-1-8 0,0 0-28 0,-1-1-12 15,1 1 8-15,-1 0 12 0,-2-1 12 0,0 0 8 0,0 1 4 0,-1-1 12 16</inkml:trace>
  <inkml:trace contextRef="#ctx0" brushRef="#br0" timeOffset="75762.3334">17389 13026 11 0,'-13'2'32'0,"1"-2"0"0,0 0 0 0,-1 0-4 15,1-1 0-15,-2-1-4 0,1 2 0 0,0-3 0 0,0 1-8 0,1-1 4 0,-1 1-4 16,0-2 0-16,-1 0 0 0,2 0-4 0,0-1 4 0,-2 0 0 0,3 0 0 15,-2 0-4-15,1-1 0 0,1 0-4 0,-1-1 0 0,0 0 4 0,2 1 0 16,0-2 0-16,1 0 4 0,0 1-12 0,0-2 8 0,1 1-4 0,2-1 8 16,-1 0-8-16,0-1 4 0,3 0-4 0,0 1-4 0,2-2 4 0,-1 1 4 0,2-1-8 15,1 0 0-15,1-1 8 0,1 0-12 0,1 0 12 0,2-1-4 0,1 0-8 16,1 0 0-16,2-1 12 0,0 0-8 0,2 0 4 0,1-1-4 0,1 1 0 0,2-2-4 15,-1 1 8-15,3 3-4 0,-1-3 0 0,3 1 0 0,0 1 0 16,0 0 0-16,3 1 0 0,-1 1 0 0,1-1 0 0,0 2 0 0,2 0 0 0,0 0-4 16,-1 3 0-16,2-1 8 0,2 1 0 0,-2 2-4 0,2 0-4 0,-1 1 8 15,1 1-8-15,-1 1-4 0,0 2 8 0,0 0 0 0,1 2 4 0,-2 1-12 0,1 1 12 16,-2 1-4-16,0 0-8 0,0 2 4 0,0 0 4 0,-2 1 0 0,1 1 4 15,-1 0-8-15,-1 1 4 0,-1 0-4 0,0 0 4 0,-2 1 0 0,1 0 4 16,-2 0-8-16,0 1 4 0,-1 0 4 0,-2 0-4 0,-1 0 0 0,-1 1 0 16,-1-1-4-16,-1 1 8 0,-2 0 0 0,-1 0 4 0,-2 1-4 0,-1-1 0 0,1 1 0 15,-3-2 4-15,-1 2 0 0,-1-2 4 0,-2 1 0 0,0 1 0 0,-2-2 0 16,-1 1 4-16,0-1-4 0,-2 1 0 0,-1-1 0 0,-2 0 0 0,0 1-4 0,-1-1 0 15,-3 0 0-15,1 0 0 0,-2 0-4 0,0-1 0 0,-2 0 0 0,1 0 0 16,-2 0 0-16,-1 0-4 0,1-1 4 0,-2 0-4 0,0-1-4 0,0 0 4 16,0-1-4-16,0 1 4 0,-1-3-4 0,0 1 4 0,1 0-4 0,-1-1 0 0,2-2 0 15,-1 0 0-15,0 0-4 0,0-2 0 0,2 0 0 0,-1 0-4 0,2-1 0 16,-1-1-4-16,0-1-8 0,3-1 4 0,-1 1-4 0,1-2-8 0,2 0-4 0,0-1-4 15,1 0-8-15,1 0-8 0,1-2-8 0,1 1-4 0,0-1-20 16,1-1-16-16,2 0-4 0,0 0 12 0,1 0 8 0,1 0 12 0,1-1 8 0,0 1 4 16,2-1 8-16</inkml:trace>
  <inkml:trace contextRef="#ctx0" brushRef="#br0" timeOffset="76216.3593">18508 12140 39 0,'0'-8'56'0,"0"0"-8"0,0-1-4 0,0 2-4 0,0 0-8 0,2 0 0 0,0 0-12 15,-1 2 12-15,2-1 0 0,-1 1-4 0,2 1 4 0,-1 1-12 0,1 0 8 16,-1 2-12-16,2 0 8 0,0 1 0 0,1 0 8 0,1 1-8 0,-1 1 0 16,2 1 0-16,-1 1 0 0,2 0-4 0,0 1 0 0,1 1 0 0,2 0 0 0,-1 2-4 15,1-1 4-15,1 3-4 0,0-2 4 0,1 1 0 0,0 1-8 0,1 0 4 16,0 0 0-16,0 1 0 0,0 0-4 0,2-1 0 0,-2 1 4 0,1 0-4 0,0 1 0 15,0-3-4-15,-1 2 0 0,2 0 0 0,-4-1 4 0,3 0 0 16,-2-2 0-16,0 2-4 0,-1-2 0 0,0-1 0 0,-1 2-4 0,0-2 4 0,-3-1-4 16,2 1 0-16,-1-2 0 0,-2 0 0 0,1 0 0 0,-2 0 0 0,0-1 0 15,-1-2-4-15,1 2 4 0,-2-1 0 0,-1-1-4 0,-1 0 0 0,0 0-8 0,0 0-4 16,-1-2-8-16,-1 1-12 0,0 0-12 0,-1 0-20 0,0-1-16 0,-2-1-24 15,1 0-24-15,-2 0 12 0,1 1 16 0,-2-2 8 0,0 0 12 0,0 2 8 16,-1-2 12-16,0 1 4 0</inkml:trace>
  <inkml:trace contextRef="#ctx0" brushRef="#br0" timeOffset="76815.3936">19009 12562 43 0,'0'-3'44'0,"0"-2"0"0,-1 3-4 0,-1 0-4 0,1 0-4 15,0 1 0-15,0 2 0 0,0 1-4 0,0-1 0 0,-1 2-4 0,0 2-4 0,0 0 4 16,0 0-8-16,-1 3 0 0,0-1 0 0,0 2 4 0,-1-1-8 0,0 2 0 15,0 0 0-15,0 2-4 0,0-1 4 0,1 2-4 0,0-1-4 0,-1 1 4 16,1 1-4-16,0-1 4 0,1 1 0 0,0-1-4 0,1 1 0 0,-1-2-4 16,1 3 0-16,0-3 0 0,1-1 4 0,0 1 0 0,1-2 4 0,1 0-8 0,0-1 12 15,0 0-8-15,1-3 4 0,2 0 4 0,-1-1-8 0,0-1 8 0,1 0 4 16,0-2 0-16,2-1-8 0,0-1 0 0,0 0-4 0,0-2 4 0,1-1 4 0,0 1-4 15,0-2 0-15,0-1 0 0,0 0 0 0,0-1-4 0,0 1 8 16,-1-2 0-16,0 1 0 0,0 0-4 0,-1-2 4 0,0 1-4 0,-1 1 0 0,-1-2 0 16,0 1 4-16,-2 0-4 0,2 1-4 0,-4-1 8 0,1 0-8 0,-2 1 4 15,0 1-8-15,-3-2 0 0,1 2 8 0,-1 0-8 0,-2 2 0 0,0-1 4 0,0 0 0 16,-2 2-8-16,0 0 8 0,0-1 0 0,0 1-4 0,-2 2 0 0,1-1 0 15,0 1 0-15,-1 0-4 0,0 0 0 0,1 1 4 0,0-1-4 0,0 2 0 16,1 0 4-16,-1 0-4 0,1-1 0 0,1 2-8 0,0 0 4 0,1 0-4 16,0-2-4-16,2 2 0 0,0 0-12 0,2 0-8 0,0-1 0 0,1 0-8 0,1 0-4 15,2 0 4-15,0-1-12 0,0 1-8 0,2-2-12 0,1 0-8 0,0 0 8 16,1 0 8-16,1 0 8 0,1-2 0 0,1 1 12 0</inkml:trace>
  <inkml:trace contextRef="#ctx0" brushRef="#br0" timeOffset="77197.4154">19069 12723 15 0,'13'-3'36'0,"0"-1"0"0,1 0 0 0,-1 1-4 0,0-1 0 16,2 1 0-16,-1 1-4 0,0-1-4 0,-1 0 0 0,1 1 0 0,-1 0 0 15,1 1-4-15,-1 1 0 0,-1-1-4 0,2 1 0 0,-2 1 0 0,0-1-4 0,-1 2 0 16,1 0 0-16,-2 1 4 0,0-1 0 0,0 1-8 0,1 1 0 0,-2 1 4 15,-1-1-4-15,0 0 0 0,1 1 0 0,-2 1 0 0,0-1 4 0,-2 1 4 16,2 0-12-16,-1 1 0 0,-1-2 8 0,0 2 0 0,-1 0-4 0,-1 0-4 0,-1 0 8 16,2 0-4-16,-2 0 0 0,0 0-4 0,-1 0 4 0,-1 0 0 0,0 0-4 15,-1-1-4-15,0 1 12 0,0-1-12 0,-1 1-4 0,-2-2 4 0,2 1 12 0,0-1-16 16,-2 0 0-16,0 0 8 0,1-1 0 0,-1 0 0 0,0-1-4 0,-1 1 0 15,0-2-4-15,0 1 12 0,0-2-4 0,0 1-8 0,0-2 12 0,0 1-4 16,-1-1-8-16,1 0 8 0,0-1-4 0,0-1 0 0,1 1 4 0,0-2 0 16,0-1-8-16,0 1 4 0,1-2 4 0,1 0-4 0,0 0 0 0,1 0-4 0,0-3 0 15,1 2 12-15,0-2-8 0,1 1-4 0,0-1 12 0,1-1 0 0,0 0-8 16,2 0-4-16,0-1 8 0,0 0-4 0,0-1 0 0,1 1 0 0,0 0 4 0,1-2-4 15,0 2 0-15,1-2 0 0,0 2 0 0,-2-1 8 0,2 0-4 16,0 0 0-16,0 0 4 0,-1 1 4 0,0 0 0 0,-1 0 0 0,2 1 4 0,-2-1-4 16,-1 1 0-16,0 1 0 0,-1 0 0 0,0 0 0 0,-2 2 0 0,1-1-4 15,-2 1 0-15,0 0 4 0,-1 0-4 0,-1 2 0 0,-1-2-8 0,0 3-4 0,-2-1 8 16,0 2-4-16,-2 0 4 0,1 1 0 0,-1-2 0 0,-2 3 0 0,0-1-4 15,0 1 0-15,0 1 0 0,-1-1 4 0,-1 3-8 0,1-3 4 0,-1 2-4 16,0 0-4-16,0 1 4 0,-1-1 4 0,2 1-4 0,-1 0 0 0,-1 1-4 16,2-1-12-16,1 2-4 0,-1-2-4 0,1 1-8 0,0 1-8 0,1-2-8 0,0 2-4 15,0-1-12-15,2-1-20 0,0 1-8 0,-1 0 4 0,3-1 8 0,0 0 12 16,1 1 8-16,1-1 8 0</inkml:trace>
  <inkml:trace contextRef="#ctx0" brushRef="#br0" timeOffset="77751.447">18923 12940 7 0,'-13'1'48'0,"1"-1"-8"0,0-1 0 0,0 0-4 0,2-1 0 0,-3-1 0 15,3 1-4-15,0-1-4 0,-2-1 0 0,2-1-4 0,1 0 0 0,-1-1-4 16,1-1 0-16,1 0 0 0,0-1-4 0,0-1-4 0,2-2-4 0,-1 2 0 15,1-3 0-15,1 0 4 0,0 0 0 0,2-1-4 0,0-2-4 0,1 1 4 16,1 0 4-16,1-1-4 0,0-1-4 0,2-1 0 0,1 1 12 0,1-2 0 0,1 1-8 16,2 0 4-16,0-3 4 0,2 2 0 0,0-1 0 0,4 0-8 0,-1 1 4 15,2-1 4-15,1 1 0 0,2 0 0 0,0 0 0 0,2 1 4 0,2 2 0 0,-1-1-8 16,2 1-4-16,1 1 0 0,0 1 0 0,3 0-4 0,0 3 0 0,1 0 8 15,0 0-4-15,1 1-4 0,0 3 4 0,1 0 0 0,0 1-4 0,0 2 4 16,-2-1 0-16,1 3 0 0,1 1 4 0,-1 2-4 0,0 1 0 0,-2 0-4 16,0 2-4-16,-2 1 4 0,0 0 8 0,-1 3-8 0,0 0 4 0,-1 0 0 0,-3 2 0 15,1 0 0-15,-2 1 0 0,0 1 0 0,0 0 0 0,-3 0 4 0,0 0 0 16,-2 1-4-16,-1 1 4 0,0-1-4 0,-2 1 4 0,-1 0 4 0,1-1-4 0,-3 1 4 15,-1 0 4-15,0-1 0 0,-2 1-4 0,0-1 4 0,-1 0 4 16,-1 0 0-16,-2 1 0 0,0-2-8 0,0 1 4 0,-2 0 4 0,-1-1 4 0,-2 1-12 16,0-1 4-16,-1 0-4 0,-1 0-4 0,-3 0 4 0,1 0-4 0,-2 0 0 15,-2 0-4-15,0-1-4 0,-1 1 8 0,-2 0-4 0,-2 0 0 0,1 0-4 0,-2 0 0 16,0-1 0-16,-1 0-4 0,-3 3 4 0,2-4-4 0,-3 2 4 0,0-1 4 15,0-1-8-15,-1 1 4 0,1 0-8 0,-2-3 4 0,1 3 0 0,-1-3 0 16,1-1-4-16,-1 1 4 0,2-2-8 0,0-2-4 0,-1 1-8 0,2-2-8 16,1-1-12-16,-1-1-4 0,2-2-8 0,0 0-8 0,1-2-16 0,1-1 4 0,1 0-16 15,-1-2 0-15,1-2-16 0,2 0-20 0,0-3 0 0,1-1 12 0,0 0 12 16,3-2 16-16,0 1 4 0,-1-3 8 0,2 1 12 0,0-2 8 0</inkml:trace>
  <inkml:trace contextRef="#ctx0" brushRef="#br0" timeOffset="78916.5137">15347 10606 7 0,'0'-3'48'0,"1"0"-4"0,-1 0 0 0,2 0 0 0,-2 0-4 0,0 1-4 16,0-2 0-16,0 1-4 0,0 0 4 0,-2 2-8 0,2-2-4 0,-1 1 0 0,1 0 0 15,1 0-4-15,-2 1 4 0,1 0 0 0,0 1-4 0,0-2 0 0,0 2-4 16,0 0 0-16,1 0 4 0,2 0 4 0,-1 0 0 0,0 2 0 0,0-1-4 0,2 0 0 15,-1 1 0-15,1 0 0 0,1 0 4 0,0 1 0 0,1-1 0 0,0 2 0 16,-1-1 0-16,2 1 0 0,-1-1 0 0,2 2-4 0,-1 0 0 0,2-1 0 16,-2 1 0-16,3 1 0 0,-2-1-4 0,2 0 0 0,1 2-4 0,-1-2 0 0,0 1 4 15,2 0-4-15,-1-1 0 0,2 2 0 0,-2-2-4 0,2 0 0 0,1 0 0 16,-1 0-4-16,2-1 4 0,-1 0-4 0,2 0 4 0,-1-1-4 0,2-1 0 15,-1 0 0-15,2-1 0 0,-1 1 0 0,2-1-4 0,0-1 4 0,-1 2-4 16,1-4 4-16,0 2-4 0,2-1 0 0,-1 1 0 0,-1-2-8 0,0 0 8 0,1 0 4 16,-1 1-4-16,1-2 4 0,-2 2 0 0,1-2 0 0,0 1 0 0,-3 0-4 15,3 0 0-15,-4 1 0 0,3 0 4 0,-4 1-4 0,2 0 0 0,-2 0 4 0,0 1 0 16,-2 0 0-16,2 1 0 0,-2 1 0 0,-1-1 0 0,0 1-4 0,-1 1 4 15,0 0 0-15,0 1 0 0,-1-1-4 0,0 1 4 0,1 0 0 0,-1 0 0 16,-1 1 0-16,1 0 4 0,0-1 0 0,0 0 0 0,0 2 0 0,1-2-4 16,-1 0 0-16,1 1 0 0,1-2 0 0,0 1 0 0,0-2 0 0,1 2-4 0,0-3 4 15,1 1 0-15,1-2-4 0,-1 0 0 0,2-1-4 0,0 0 8 0,1-2-4 16,0 0-4-16,2-1 8 0,-1-1-8 0,0 0 4 0,2-1 0 0,-1 0-4 0,2-1 4 15,0-1 0-15,-1 1 0 0,1-1 0 0,-2-1 4 0,2 1-4 16,0 0 0-16,-2-1 4 0,1 1-8 0,-1 0 4 0,0 0 0 0,0 0 0 0,-3 0 0 16,2 0 4-16,-1 1-4 0,-1 0 0 0,-1 1 0 0,0 0 0 0,-1 0 0 15,1 1 0-15,-2 1 4 0,-1 0-8 0,1 1 4 0,-2-1 0 0,0 1 0 0,0 2 0 16,-2-1 0-16,0 1-4 0,0 0 4 0,0 0 0 0,-2 0 0 0,1 1 0 15,0-1-4-15,0 2 4 0,-1-2-4 0,0 1-4 0,0 1 4 0,0-2-4 0,1 1 0 16,-2 0 0-16,-1 0-8 0,1-1 0 0,0 2-8 0,-1-1-12 0,0 0-8 16,0 0-8-16,-1 1-12 0,-1-2-16 0,-1 2-12 0,-1-1-20 0,0 0-16 15,0 0 8-15,-1 1 16 0,-2 0 8 0,2-1 16 0,-4 1 4 0,1 0 12 16,0-1 8-16,-1 1 4 0</inkml:trace>
  <inkml:trace contextRef="#ctx0" brushRef="#br0" timeOffset="80618.6111">15138 11310 23 0,'0'-1'40'16,"-1"0"-4"-16,0-1-4 0,-1 1 4 0,0 0-4 0,2 0 0 0,-1-1-4 15,0 2-4-15,1-1 0 0,-1-1-4 0,1 2 0 0,-1-1 0 0,0 0 0 0,1 1-4 16,0 0 0-16,0-2 0 0,1 1-4 0,-1 1 4 0,2 0 0 0,0 0 0 15,0-1-4-15,1 1 0 0,0 0 8 0,0 0 0 0,1 0-4 0,1 0-4 0,1 0 8 16,1-1 0-16,-1 1 4 0,2 0-8 0,-1 0 4 0,1-2 4 0,2 2-8 16,0 0 8-16,0 0 4 0,2 0 0 0,-1 2-4 0,2-2 0 0,0 0 0 15,0 2 0-15,1-2 0 0,0 1 0 0,1 1-4 0,0-1 0 0,1 0 0 16,0 2-4-16,0-1 0 0,0 0 0 0,1 1 8 0,0-1-4 0,1 0-4 0,-1 1 0 15,0-1-4-15,1 1 0 0,-1-1 0 0,0 1 4 0,0 0-4 0,1-1 0 16,-1 1 4-16,-1 0-4 0,1-1 0 0,-2 2-4 0,1-3 4 0,-2 2 0 0,1-2-4 16,-2 1 8-16,0-1 0 0,1 0 0 0,-3 1-12 0,2-1 8 15,-3-1 4-15,-1 1-4 0,2-1 4 0,-3 0 0 0,1 0 4 0,-3 0-8 0,2 0-4 16,-3 0 0-16,-1 0 0 0,1 0 0 0,-3 0-4 0,1 0 4 0,-3 0 0 15,0 0-8-15,0 0 4 0,-1 2-4 0,-1-2 0 0,0 0-8 0,-2 0-12 0,0 0-20 16,0 0-8-16,-1-2-20 0,-1 2-16 0,1-1-16 0,-2 1-20 0,0-2-28 16,1-1 4-16,-2 1 16 0,1-1 16 0,0 1 12 0,-1-2 12 0,0 1 8 15,0-2 12-15,-1 1 4 0,1-1 8 0</inkml:trace>
  <inkml:trace contextRef="#ctx0" brushRef="#br0" timeOffset="81208.6449">15898 10148 19 0,'-9'0'48'0,"1"0"-8"0,-2 0 0 0,2 0-4 0,-1 0-4 16,1 0 0-16,0 0-4 0,0 1-4 0,2-1-4 0,0 0 0 0,0 1 0 15,0-1 0-15,3 0-4 0,1 1 0 0,0 0 8 0,1 0-8 0,3 1 4 0,0-1 8 16,2 1-4-16,2 0 12 0,2 0-8 0,2 1 0 0,0 0 4 0,4-1 0 16,-1 1-4-16,4 0 4 0,-1 1-4 0,4-1 4 0,0 1-4 0,1-1 0 15,1 1 0-15,0 1-4 0,2-2 0 0,0 2 0 0,1-1 0 0,0 1 0 16,2 0 0-16,-1-1-4 0,0 0-4 0,0 1 0 0,-1 0 0 0,2-1 4 0,-2 1-4 15,0-2 0-15,-2 2 0 0,0-3 0 0,-1 3 0 0,0-1-4 0,-3-1 0 16,-1 0 0-16,-2 0 0 0,0 0-4 0,-2-1 0 0,-1 2 0 0,-1-2 0 0,-2 0 0 16,0-1 0-16,-2 2 0 0,-1 0-4 0,-1-2 0 0,0 0 0 15,-2 0-4-15,-1 0 0 0,0 0-4 0,-2 0-4 0,0 0-12 0,-1-1-12 0,-1 0-8 16,0 0-12-16,-1-1-16 0,0 0-16 0,-3 0-4 0,1-1-24 0,-2 1-16 15,1-2 8-15,-1-1 12 0,-1 2 12 0,-1-1 12 0,-2-1 8 0,1 1 8 0,-1 0 12 16,-2-2 4-16</inkml:trace>
  <inkml:trace contextRef="#ctx0" brushRef="#br0" timeOffset="82138.6981">15115 9863 11 0,'-4'-6'40'0,"0"0"-4"0,0 0 0 0,0 1-8 0,0 0 4 0,0 0 0 15,1 0-4-15,1 0-4 0,-2 2 0 0,1-2-4 0,1 3 0 0,-1-2-4 16,1 1 4-16,-1 0-4 0,1 1 0 0,0 1 0 0,0-1-4 0,1 1-4 16,-1 1 8-16,1 0-4 0,0 1-4 0,0 1 0 0,0 1 0 0,-1 1 4 15,1 0-4-15,1 1 0 0,-1 1 0 0,0 1 0 0,0 1-4 0,-1 0 4 0,2 1-4 16,-1 0 4-16,-1 1 0 0,1 1-4 0,-1 0-4 0,0 0 0 0,0 1 4 15,1-1 0-15,0 2 0 0,-1-1 0 0,1 0 0 0,-1 1 0 0,0 0-4 16,1-1 0-16,-1 2 0 0,1-1 0 0,-1-1 0 0,0 0 0 0,1-2 4 0,1 2 0 16,-1-2-4-16,-1 0 0 0,2-1 0 0,-1-1 0 0,1 0-4 0,-1-1 4 15,1 0-4-15,-1 0 0 0,1-1 0 0,-1-2-4 0,1 1 4 0,0-2-8 16,1 1-4-16,-1-1-8 0,0-1-8 0,1-1-4 0,-1 1-16 0,1-1-24 0,-1-2 0 15,1 0 8-15,0 0 8 0,1-1 4 0,-1-1 8 0</inkml:trace>
  <inkml:trace contextRef="#ctx0" brushRef="#br0" timeOffset="82539.721">15177 9790 11 0,'1'-4'44'0,"0"1"-8"0,-1-1-8 0,1 3 0 0,-1-2-4 0,1 1 0 15,-1 0-4-15,1 0-4 0,-1 1-4 0,1 1 4 0,0-1-4 0,-1 0 4 16,1 0-4-16,0 1 4 0,1 0-4 0,-1 0 0 0,1 0 0 0,0 0 0 0,2 1 0 15,-2-1-4-15,2 1 4 0,0-1 0 0,0 1 0 0,1-1-4 0,0 0 4 16,1 1 0-16,1-1 4 0,-1 1 4 0,2-1 0 0,1 0 0 0,-1 0 4 0,0 0-12 16,1-1 4-16,2 0 4 0,-1 1-12 0,-1-1 8 0,3 0 4 15,-2 0-4-15,-1-1-4 0,2 1 8 0,-1 0-4 0,-1 0 0 0,2-1 0 0,-2 2 0 16,0-2 0-16,0 1-4 0,-2-1 4 0,2 0-8 0,-2 1 8 0,1 1-4 15,-2-1 0-15,-1 0 4 0,1 1 0 0,-2 1 0 0,-1 0 0 0,0 0 0 0,1 2-4 16,-3 1 4-16,0-1-4 0,-1 3 0 0,-1 0 0 0,0 1 0 0,-3 1 0 16,2 1 0-16,0 1 0 0,-3 1-4 0,2 0 0 0,-2 2 0 0,1 1 0 15,-1-1-4-15,-1 3 4 0,1-1-4 0,0 2 0 0,0-1 0 0,-1 1 4 0,1 1-4 16,-2 0 0-16,2 1-4 0,-1-1 8 0,1 1-8 0,-1-1 4 0,0 1-4 15,2-2 0-15,-1 0 4 0,1 1-4 0,0-1 4 0,1-1 0 0,0-1 0 0,-2 0-4 16,3-1 0-16,-1 0 0 0,1-2 0 0,0 0 0 0,1-2 4 0,0 0-4 16,0-1 0-16,0-1 4 0,0-1-4 0,1 0 0 0,-1-1 0 0,1-1 0 15,0 0 0-15,0-1 0 0,0-1 0 0,0 0-4 0,0-1 4 0,0 1 0 16,1-3-8-16,-1 1 0 0,0-1-8 0,1-1-8 0,-1 1-16 0,1-3-8 0,0 2-20 15,-1-2-12-15,0 0-24 0,0 0-20 0,0-1 12 0,0 0 12 0,0-1 12 16,-1 0 4-16,0 0 12 0,0 0 12 0,1-1 0 0</inkml:trace>
  <inkml:trace contextRef="#ctx0" brushRef="#br0" timeOffset="86586.9524">13906 10917 27 0,'-2'-7'80'0,"0"0"-16"0,-1 0-4 0,1 0 4 0,1-1-16 15,0 2 0-15,-1-1-8 0,1 1-4 0,0 0 0 0,0 0-4 0,-1 0-12 16,2 1 4-16,-1 0-4 0,0 1 4 0,0 0 0 0,1 1-4 0,0 0 0 16,1 1 0-16,0-1 0 0,-1 3-4 0,2 0 8 0,0 0-12 0,2 2 8 0,0 0-4 15,2 2-4-15,-1-2 0 0,0 3 0 0,2 0 0 0,0 0 0 0,1 1 0 16,-1-1 0-16,1 1-4 0,0 1-4 0,1-2 4 0,-1 2-4 0,0 0 0 0,2-1-4 15,-2 1 8-15,0 0 0 0,-1-2 0 0,2 3 0 0,-3-1 0 0,1 0 0 16,-2 0 0-16,0 2-4 0,-2-2 4 0,1 2-4 0,-1-1 0 0,-2 1 0 16,-1-1-4-16,-1 1 4 0,-1-1 0 0,-2 2 0 0,1-2 0 0,-2 1 0 15,0 1-4-15,0-1 0 0,-2 1 4 0,0-1-4 0,-1 0 0 0,1 1 0 0,-1-1 0 16,-1 1 0-16,0 0 0 0,1-1 0 0,0 0 0 0,0-1 0 0,-1 1 0 15,2 0 0-15,0-2 0 0,0 1 0 0,1-1 0 0,1 0 0 0,1-1 0 0,1-2 0 16,1 1 0-16,1-2 4 0,1 1-4 0,0-1 0 0,2-1 4 16,1-2 0-16,1 1-4 0,2-2 0 0,0 1 4 0,2-3-4 0,0 1 0 0,1 0 0 15,0-1 0-15,2-1 0 0,0 1 0 0,1 0-8 0,0-1-8 0,0 0-16 16,1 0-4-16,0-1-16 0,1 0-16 0,-1 1-8 0,0-1-24 0,1 0-16 0,-1-1 12 15,1 1 12-15,0-1 8 0,-1 1 8 0,0-2 12 0,0 1 8 0,-1 0 4 16</inkml:trace>
  <inkml:trace contextRef="#ctx0" brushRef="#br0" timeOffset="87112.9825">14418 10901 31 0,'0'-2'28'0,"1"-1"4"16,-1 1 0-16,1 1-4 0,-1 1 4 0,0-1 0 0,1 1 0 0,0 0 4 15,1 1 0-15,0 0 0 0,-1 1 4 0,2 1 0 0,-2-1 0 0,2 2 0 0,-1-1-4 16,1 3 0-16,0-2-4 0,-1 1-4 0,2 0 0 0,-1 2-4 0,2-1-4 15,-1 1 0-15,0 0 0 0,1 0 4 0,-1 1-4 0,2 1 0 0,-1-1-4 0,2 1 0 16,-2-1 4-16,1 2-4 0,0-3 0 0,0 2 0 0,2 0-4 16,-1-1 4-16,0 0 0 0,0 1 0 0,2-1 4 0,-2-1-4 0,1 1 0 0,0-1-4 15,1-2 4-15,-2 2-4 0,1-1 4 0,1-1-4 0,-1 1 0 0,-1-3-4 16,1 2 0-16,-1 0 0 0,1 0 0 0,-1-2 0 0,-1 1 0 0,-1-1 0 0,1 0-4 15,0 1 0-15,-2-1 0 0,-1 0 0 0,1 0-4 0,-2 0 4 0,0 0 4 16,-1 0-4-16,-1 0-8 0,0 0 4 0,-1 1 0 0,-1-1 0 0,0 0 0 16,-2 1 0-16,0-2-4 0,-1 3 4 0,0-3 4 0,-1 1-4 0,-1 1-4 15,1-1 4-15,-2 0 0 0,0-1 0 0,0 0 0 0,0 0-4 0,-2 0 4 0,1-2 0 16,-1 3-4-16,-1-3 4 0,1 0 0 0,0-1 0 0,-1-1-4 0,0 1 4 15,-1-2-4-15,1 1 4 0,0-1 0 0,0-2 0 0,-1 1-4 0,1-1 0 0,1 0 0 16,-1 0 4-16,0-2-4 0,2 1-4 0,-2-1 4 0,2-1-4 16,1 1 0-16,0-3 4 0,0 3-4 0,2-4 4 0,0 1 0 0,1 0 0 0,-1-1-4 15,3 1 4-15,1-1 4 0,-1-1-4 0,2 1 0 0,1-1 0 0,1 0 4 16,2 0 0-16,-1 0 0 0,1-1 4 0,2 2-4 0,1-1 4 0,0 1 0 0,0-2 0 15,2 3 0-15,0-2 0 0,1 1 0 0,0 0 0 0,1 1 0 0,0 0-4 16,0 1 4-16,1-1 0 0,-1 2 4 0,1 1-4 0,1 0 0 0,-2 0 4 16,2 0 0-16,-1 2 0 0,0 0 4 0,0 1 0 0,1 0 0 0,-1 1 4 0,0 0 0 15,0 1 0-15,-1 0 8 0,2 1-4 0,-3-1 4 0,1 1-4 0,1 1-4 16,-1 0 4-16,-1 0-4 0,2 0-8 0,-3 0-4 0,1 1 4 0,-1 0 0 0,1 0 0 15,-1 0-4-15,0-1-4 0,-2 1 8 0,2 0-4 0,-1 0-4 0,-1-1 4 16,-1 0-8-16,1 1 8 0,0-1-4 0,-2 1 0 0,0-1-4 0,-1 1 0 16,0 0-12-16,-1 0-8 0,0-1-16 0,-1 2-20 0,-1 0-24 0,0 0-16 15,0-1-28-15,-1 2-24 0,-1 0 16 0,0-1 8 0,0 1 16 0,-1 1 12 0,0-1 12 16,-1 1 12-16,1 1 8 0,-2-1 8 0,2 1 4 0</inkml:trace>
  <inkml:trace contextRef="#ctx0" brushRef="#br0" timeOffset="87993.0328">15691 12640 55 0,'2'-3'96'15,"0"-1"-8"-15,2 1-8 0,1 0-4 0,0-1-8 0,1-2 0 0,2 3-8 16,1 0-4-16,1 1-12 0,3 1 4 0,-1-2-4 0,3 2-4 0,0 0 0 16,1-2-4-16,1 1 0 0,2 1-4 0,-1 0-4 0,3-2-4 0,0 1 0 0,-1 0-4 15,2 0 4-15,0 0 0 0,-1 0-4 0,2 1 0 0,-2-2 0 0,1 1-4 16,0-1 4-16,-1 1-4 0,1-1 4 0,-3 1 0 0,2-1-4 0,-1 0 4 0,-3 1-4 15,2-1 0-15,-3 0-4 0,0 0 4 0,-1 0-8 0,0 0 0 0,-2 0 4 16,-1-1 0-16,-1 2 0 0,-1-1-8 0,0 1 8 0,-3-1 0 0,0 1 0 16,-1 0-4-16,-2 1-4 0,2 0 0 0,-4 0 4 0,0 0 0 0,-1 1-8 15,0 0-4-15,-1 0 0 0,-1 0-4 0,0 1-12 0,-1-1-16 0,0 2-12 0,-1-2-12 16,-1 2-8-16,0-1-24 0,0 1-8 0,-1 0-20 0,0-1-20 0,0 1 8 15,-1 0 12-15,0 0 16 0,1 1 8 0,-2-1 12 0,0 1 8 0,0 1 8 0,-1 0 12 16</inkml:trace>
  <inkml:trace contextRef="#ctx0" brushRef="#br0" timeOffset="88816.08">15744 13098 51 0,'2'-7'52'0,"2"0"-8"16,-3 2-4-16,0 1-4 0,0 0-4 0,0 1-4 0,0 1 0 0,0 0-4 0,-1 2-4 15,-1 2 0-15,0 0-4 0,-2 1 4 0,2 3-4 0,-4-1-4 0,2 3 0 16,-1 2 0-16,0 1 4 0,-1 1 0 0,-1 0-4 0,0 4 0 0,0 1 0 0,-1-1 4 15,1 3 0-15,-2 0 0 0,1 2-4 0,0-2-12 0,-1 4 8 0,1 0 8 16,-2 1-4-16,3-1 0 0,-2 2-8 0,2-1 4 0,-1-1 0 0,1 1-8 16,0 0 8-16,1-1 4 0,0-1-4 0,1-1 0 0,1 0-8 0,-2-1 4 15,3-2 4-15,-1-2 0 0,3 1 0 0,-1-3 0 0,1-1 0 0,1-1 4 0,1-2 0 16,1-2 0-16,-1-1 0 0,3-2 0 0,-1 0-4 0,1-3 0 0,1-1 4 15,0-2-4-15,0-1 8 0,2-1-8 0,-1-1 0 0,0-1 4 0,0-3-4 0,1 1 0 16,0-1 0-16,-1 0 0 0,0-1 0 0,1-1-4 0,-1 0 4 16,-2 0 0-16,1 0 0 0,0-1 0 0,0 1 0 0,-2-1 4 0,-1 0 0 0,0 1-4 15,-1-1 0-15,0 1 0 0,-2-1 0 0,0 2-4 0,-1-1 4 0,-1 1 0 16,0 2-4-16,-2-2 0 0,1 2 0 0,-2 1 4 0,-1-1-4 0,1 3 0 0,-2-1-4 15,1 1 4-15,-3 1 0 0,2 1-4 0,-1 0 4 0,0 1-4 0,-1 0 4 16,2 1 0-16,-2 0-4 0,2 0-4 0,-2 1 4 0,2 0 4 0,0 0-4 16,0 2-4-16,2-1 4 0,-2 1 0 0,2 0 0 0,0 1 0 0,1-1-4 0,1 1 4 15,0 0 0-15,2-1 0 0,-1 1-4 0,2 0 0 0,0 1-4 0,1-1 0 16,1-1-4-16,1 1 0 0,0-1-8 0,1 0-4 0,1 0 0 0,1-1 0 15,1 1-4-15,1-2 4 0,0 2 0 0,1-3 4 0,1 0 4 0,1 0-8 0,-1 0 4 16,3 0 8-16,0-2-4 0,0 0 0 0,1-1 8 0,1 1 8 0,-1-1-12 16,2 0 8-16,-1 0 4 0,1 0-8 0,-1-1 8 0,1 1 0 0,0-1-4 15,0 1 8-15,-2 0-4 0,2 0 4 0,-1 0 0 0,0 1-4 0,-1-1 4 0,0 2 0 16,0-1 8-16,-2 1 0 0,1 0-4 0,-1 1-4 0,-2 1 4 0,2 0 4 15,-2 1-12-15,-1-1 4 0,0 1 4 0,-1 1 0 0,0 0 0 0,0 0 0 0,-1 1 4 16,-1 0 0-16,0-1 4 0,0 2-4 0,0-1 4 0,0-1 0 16,-1 1-4-16,1 0 4 0,-1-1 0 0,1-1-4 0,1 0 0 0,-1 1 0 0,0-2 0 15,0 0-4-15,0-1 4 0,1 0 0 0,0-1-4 0,-1 0 0 0,1-2 0 16,0 1-4-16,0-2 0 0,0 0 0 0,0-1 4 0,-1 2-4 0,2-4 0 0,-1 1 0 15,-1-1 0-15,0 0-4 0,1 0 4 0,-3-2 0 0,1 2 0 0,-1-3 0 16,-1 2 0-16,0-2 4 0,-1 0 0 0,-1 2-4 0,0-1 4 0,-2-1 0 16,0 2-4-16,-1-1 4 0,-1 1 0 0,-1-1 0 0,-1 2 0 0,-1 0-4 15,-1 0 0-15,-1 1 4 0,-1 1 0 0,-1 0-4 0,1 1 0 0,-1 1 0 0,-2 0 0 16,0 2 4-16,1-1-4 0,-1 2 0 0,0 0-4 0,0 1 4 0,-1 0-4 15,2 0 4-15,-2 2-4 0,3-1 0 0,0 1 0 0,-2 1 0 0,3 0 0 0,0 1 0 16,0-1-4-16,1 1-4 0,1 0-8 0,1 0-8 0,0 1-16 16,1-3-16-16,1 3-16 0,0-1-20 0,1-1-28 0,2 0-12 0,0 0 12 0,0-1 12 15,2 0 12-15,0 0 12 0,0-1 8 0,1 0 4 0,-1-1 12 0,2 1 8 16</inkml:trace>
  <inkml:trace contextRef="#ctx0" brushRef="#br0" timeOffset="91609.2398">10530 15499 19 0,'-6'-2'52'0,"0"-2"0"0,-1 2 0 0,1-1 0 0,0-1 8 0,0 1 4 0,-1-1 0 16,-1 0-4-16,2 1 0 0,-2-1 0 0,2-1 4 0,-1 2 0 16,1-1 0-16,0-1 0 0,0 1-4 0,0 0 0 0,2 0-8 0,-2 0-4 0,1 0-4 15,1 1-12-15,1 0 0 0,0-1-8 0,0 1 0 0,1 3 0 0,-1-1-4 16,3 0-4-16,-2 2-4 0,1 0 4 0,1 2-4 0,0 0 4 0,0 1-4 0,1-1 0 15,0 2 0-15,-1 2-4 0,1 0 0 0,-1 1-4 0,1 1 0 0,0 1 8 16,-1-1-8-16,1 4 0 0,0-1 0 0,-2 1 0 0,1 1 0 0,-1 0-4 16,0 2-4-16,0 0 8 0,0 1-8 0,-1 0 8 0,0 1-4 0,0 0 0 0,-1 2 0 15,0-2 0-15,1 0 0 0,-2 0 0 0,2 0 0 0,-1-1 4 0,-1 1-4 16,1-3 0-16,0 2 0 0,-1-2 0 0,1 0-4 0,1-1 0 0,-1-1-8 0,1-1-8 15,0 0-8-15,1-2-4 0,-1 0-4 0,0 0-12 0,1-3-4 0,1-2-8 16,0 0-8-16,0-1-8 0,2-2-4 0,-1 0-12 0,1-3-20 0,-1-1-8 16,1 0 8-16,0-2 16 0,1 0 8 0,-1-1 12 0,1-2 8 0,1 1 8 15,-2-1 4-15</inkml:trace>
  <inkml:trace contextRef="#ctx0" brushRef="#br0" timeOffset="92008.2625">10651 15295 19 0,'2'-7'72'0,"1"-1"-4"0,-2 0-16 0,1 2-4 0,0-1 4 0,-1 2-16 16,1-1 4-16,-1 1-8 0,-1-1 0 0,1 2-16 0,2 1 0 0,-2-1 0 0,0 1 8 15,0 1-4-15,1 1-8 0,-1-1 12 0,2 2-4 0,-1 0 0 0,2 1-4 16,-1 0 0-16,0 0 0 0,2 1 4 0,1 1-8 0,0-1 4 0,0 2 0 0,1 0 0 15,1-1 4-15,1 1-4 0,1 0 0 0,0 0 8 0,1 0 0 0,-1 0-4 16,1 0 4-16,2 1-4 0,-2-1 0 0,2 1 0 0,0 0 0 0,-1-1 0 16,1 1 0-16,-1-1 4 0,2 1-4 0,-2-1 4 0,1 1 0 0,-1-1 0 15,-1 2 0-15,1-2 4 0,-1 3-4 0,-2-1 8 0,2 1-4 0,-2 0-4 0,-1 2 4 16,2 1 8-16,-3 1-4 0,0 2-4 0,-1 1 4 0,0 1 0 0,0 1 0 15,-1 3 0-15,-1 1-4 0,-1 2 0 0,-1 1 0 0,2 1-4 0,-3 3-4 0,1 0 0 16,0 2-4-16,-1 1 0 0,0 0 0 0,0 1-4 0,-1 1 0 16,1 0 0-16,-1 2 0 0,0-1-4 0,2-1 0 0,-2 2 0 0,0-2-4 0,1-1 0 15,0 1 0-15,0-3 0 0,0 2 0 0,-1-4 0 0,1-1-4 0,0-1 0 16,1-2 4-16,-1-1-4 0,0-1 0 0,0-3 0 0,1 0-4 0,-1-4 0 0,-1 0 0 15,1-3-8-15,0-1 0 0,0-2-12 0,0-1-4 0,-1-1-16 0,1-4 0 16,0-1-24-16,0 0-12 0,0-2-8 0,-1 0-12 0,0-1-12 0,-1-2-16 16,0-2-24-16,0 0 0 0,0 0 20 0,1-1 12 0,-1-2 12 0,1 0 16 15,-1 0 8-15,0-1 8 0,2-1 12 0,-1 0 4 0</inkml:trace>
  <inkml:trace contextRef="#ctx0" brushRef="#br0" timeOffset="92419.2861">11845 15605 23 0,'-9'-4'76'0,"3"0"-8"0,-1 0-12 0,1 1-4 0,-1 1 0 16,1 0-12-16,0 0 0 0,2 1 4 0,0 0-16 0,2 0 8 0,-1 0 0 15,1 0 0-15,2 0-4 0,0 1 0 0,1 0 0 0,0 1 8 0,2 0 0 0,0-1-4 16,2 0 0-16,0 0-4 0,2 0 4 0,-1 1-8 0,2-1 0 16,1 0 0-16,1 0-4 0,-1 0 0 0,3 1 0 0,0-1 0 0,2 0-4 0,0-1 0 15,0 1-4-15,1-1 0 0,1-1 0 0,0 0-4 0,2-1 0 0,-1 2 0 16,1-2 0-16,0 0-4 0,0 1 0 0,1-1-4 0,0 0 4 0,-2 1-4 0,3-2 0 15,-4 1 0-15,2 0 0 0,-1 0 0 0,0 1 0 0,-1-1-4 0,-1 1 0 16,1-1 0-16,-2 1-4 0,0 0-4 0,-2 0 0 0,1 0-4 0,-2 1-8 16,-1-1-12-16,-1 2-4 0,-1 0-12 0,0 0 0 0,-2 0-12 0,-2 2-12 15,0-1 0-15,-2 0 0 0,-1 2-12 0,-1-2-8 0,-1 1-8 0,-1 0 0 0,-2 1 12 16,0-1 4-16,-2 1 16 0,-1 0 8 0,-1 1 4 0,0-1 12 0</inkml:trace>
  <inkml:trace contextRef="#ctx0" brushRef="#br0" timeOffset="92644.299">11904 15789 19 0,'-10'10'56'0,"2"-3"-4"0,1 2-4 0,2-1 0 0,0-2-4 15,1-1 8-15,2 0-4 0,2 0-4 0,0-2 0 0,2 0 0 0,2-2-4 16,0 0 8-16,2-1-4 0,0-1 0 0,1 0 0 0,3-2-8 0,-1 0 4 16,1 0-4-16,2-1-4 0,-1 0 0 0,1-1-4 0,2 0 0 0,-1 0-4 0,2 0-4 15,0-1 0-15,0 1-4 0,1-1-4 0,1 1 0 0,-1-2 0 0,1 3 0 16,-2-2-4-16,3 1 0 0,-3 0-4 0,2 0 0 0,-2 1 0 0,2-1 0 0,-2 0 0 15,-1 1-4-15,0 0 4 0,1 0-4 0,-2 1 4 0,1-1-4 0,-3 1 0 16,1 2 0-16,-1-2-4 0,-1 2 0 0,1-2 4 0,-3 3-4 0,0-2-8 16,-1 0-8-16,-1 2-4 0,1-1-8 0,-2 1-16 0,0-1-16 0,-2 1-12 15,0 0-28-15,-1-1-16 0,0-1 4 0,-1 2 12 0,1-2 16 0,-1 0 8 0,-2 0 8 16,0-1 12-16,0 0 4 0</inkml:trace>
  <inkml:trace contextRef="#ctx0" brushRef="#br0" timeOffset="92968.3174">12244 15294 35 0,'-3'-10'72'0,"1"-1"-8"15,-1 2-12-15,1 0-8 0,2 1 0 0,0 0-4 0,0 2-8 0,2 2 4 16,1 0-8-16,0 0 4 0,1 3-4 0,1-1 0 0,0 2-4 0,1 1 0 16,0 0-4-16,3 2 0 0,-1-1 0 0,1 2 0 0,2 0-4 0,-1 2 0 0,2-1 0 15,0 1-4-15,1 1 8 0,2 1-8 0,1-1 0 0,-1 3 0 0,3-1 4 16,-1 0-8-16,1 1 4 0,1 0 4 0,1 1 0 0,0 1 4 0,-1-1 4 15,1 0 0-15,0 1 0 0,0 0 0 0,0 1 0 0,-2 0 0 0,1-1 0 0,-1 1 0 16,0 1 0-16,-2-3 0 0,1 2 4 0,-2 0 0 0,0 1-12 0,-2-1 16 16,0 1-8-16,-2 0 8 0,0 1-4 0,-2-1 0 0,-1 0 0 0,-2 2-4 15,0-1-4-15,-1 2 4 0,-3 0-4 0,0-1 0 0,-3 2 0 0,0-1-4 0,-2 1 0 16,-3 1 0-16,1-1 0 0,-3 1 0 0,0 1-4 0,-4-3 0 0,1 3 0 15,-1-1-4-15,-3 1-4 0,0-1 0 0,-3-1 4 0,0 0-4 0,0 0-4 0,-2-1 0 16,2-1 0-16,-3 0-4 0,-1-1 4 0,2-2-8 0,-2 0 0 16,2-1-12-16,-1-1-12 0,1-2-12 0,0 0-12 0,1-2-12 0,0 0-16 0,0-1-8 15,3-3-16-15,-1 0-20 0,3-2-24 0,-1-1 16 0,3-1 12 0,1-2 16 16,0 0 12-16,2-1 8 0,2 0 12 0,-1-3 8 0,3 2 8 0,0-2 4 0</inkml:trace>
  <inkml:trace contextRef="#ctx0" brushRef="#br0" timeOffset="102112.8404">15505 14576 19 0,'-3'-3'44'0,"2"0"-4"0,-1-1-8 0,-1 3 4 0,0-1-4 0,1 0-4 16,-1-1 0-16,0 2 0 0,0 0 0 0,0 0 0 0,1-1-4 0,0 2 0 16,-2 0 0-16,2 0 0 0,-1 0-4 0,2 0 0 0,-3 0 0 0,2 0 0 15,-1 0-8-15,1 2 4 0,0-2-8 0,1 1 4 0,-1 0 8 0,1 0-16 0,0 0 16 16,0 0-4-16,1 0-4 0,0 1 4 0,0-1-4 0,1 0 4 0,-1 0 0 15,1-1-8-15,0 2 12 0,1 0-12 0,-1-1 8 0,1 1-4 0,0 0 4 16,-1-1-12-16,2 1 12 0,0 0-4 0,-1 0 0 0,2-1 0 0,1 2 4 0,0-2-4 16,0 1 4-16,-1-1 0 0,3 2 0 0,0-2 0 0,1 0 0 0,-1 1-4 15,2-1 0-15,0 1 0 0,1 0-4 0,-1 0 4 0,2-2-4 0,-1 1 0 0,1-1 0 16,1 2-4-16,-1-2 4 0,0 1 0 0,1 0 0 0,-1-1-4 15,1 0 0-15,-1 0 4 0,0 0-4 0,2 0 4 0,-4 1 0 0,2-1 0 0,0 0 0 16,-1 0 0-16,-1 1-4 0,-1-1 0 0,1 0 4 0,-1 1 0 0,-2-1 0 16,1 0-4-16,-1 1 4 0,-1 0 4 0,0 0-4 0,-2 0 4 0,1 1 4 0,-2 0-4 15,0 1 4-15,-1 0-4 0,0 0 4 0,-1 1 0 0,0 0-4 0,-1 0-4 16,0 2 8-16,-1-1-8 0,1 1 4 0,-2 0 4 0,1 2-8 0,-2-1-8 15,2 0 0-15,-1 2 0 0,-1 0 12 0,1 0 0 0,-2 0 0 0,2 2-4 16,-1-1-4-16,0 1-4 0,0-1 0 0,1 2-4 0,-1-2 0 0,0 2 4 0,-1-2 8 16,1 1 0-16,1 0-4 0,0-1 4 0,0 0-4 0,0-1-8 0,0 1-4 15,0-2 4-15,1 1 8 0,0-1-12 0,0-1 4 0,0 0 8 0,0-2-4 0,1 1 0 16,0-1 4-16,0 0-4 0,0-1 4 0,1-1-8 0,-1-1 0 0,1 0 0 15,0 1 0-15,0-3-8 0,1 1-4 0,-1-1-16 0,1-1-4 0,0-1-12 16,0 1-12-16,0-1-4 0,0 0-12 0,0-2-12 0,1 0-12 0,-2 0-32 0,3-1 4 16,0 0 12-16,-2 0 16 0,2 0 12 0,-2-2 8 0,2 1 8 0,0-1 8 15,0 0 12-15</inkml:trace>
  <inkml:trace contextRef="#ctx0" brushRef="#br0" timeOffset="102383.856">16102 14583 31 0,'5'-1'64'15,"1"-2"-4"-15,1 1-12 0,-2 0-4 0,0 0-4 0,-1 1-4 0,0 0-4 16,-1 0 0-16,0 0 0 0,0 0-8 0,0 2 0 0,-1-1-8 0,0 1 12 0,-1 1-4 16,0-1-12-16,-1 2 4 0,0 0 0 0,0 0 4 0,-1 1-4 0,0 0-4 15,0 1 0-15,-1 0 0 0,-1 0 0 0,1 2 0 0,0-1 0 0,1 2 0 0,-2-1-4 16,1 1 4-16,-1-1-4 0,1 3 4 0,-1 0-4 0,-1-1 0 15,2 2 0-15,-1-1-4 0,-2 0 0 0,2 1 4 0,0 1-4 0,-1-1-4 0,2-1 0 16,-1 2 4-16,0-2-4 0,0 0 4 0,1 1 4 0,-1-1-8 0,0-1 0 16,1 0 0-16,0 0-4 0,1-2 4 0,-1 1 0 0,0 0-4 0,2-1 4 0,-2-1 0 15,1 0 0-15,1-1-4 0,-1 0 0 0,1-2-4 0,1 1-16 0,-1-3-8 16,1 1-12-16,0-2-12 0,0 0-28 0,-1-2-16 0,0 1 8 0,0-3 12 15,0 1 4-15,1-1 8 0,-1-1 8 0,1 0 12 0</inkml:trace>
  <inkml:trace contextRef="#ctx0" brushRef="#br0" timeOffset="102911.8861">15695 15068 3 0,'-11'2'40'0,"1"-1"-4"16,0 0-4-16,0 0 0 0,0-1-8 0,0-1 0 0,0-1 0 0,1 1 0 16,-1-2 0-16,1 2 0 0,-2-3-4 0,2 1 0 0,-1-1 0 0,0-2-4 0,1 2 4 15,-1-2 0-15,0 0-4 0,0-1 0 0,1-2 0 0,-1 2 0 0,0-1 0 16,2 0-4-16,-2-2 0 0,1 0 0 0,1 0 0 0,1-2-8 0,-2 0 4 15,3 0 8-15,-1-1-8 0,2 0-4 0,0-2-4 0,0 0 12 0,2-1 0 16,0 0-4-16,1-2 4 0,1 1-4 0,0-3-4 0,2 2 4 0,1-2-12 0,0-1 0 16,2 0 12-16,2-2-4 0,-1 1-8 0,2-1 8 0,1-1-8 0,1-1 8 15,2 1 4-15,0-2 0 0,3 1-12 0,-1 0 8 0,2 0-4 0,2-1 0 0,1 1 0 16,0 0 0-16,3 1 4 0,0 0 4 0,1 1-4 0,2 1-8 0,1 2 12 15,1-1-4-15,2 2 4 0,0 1 0 0,0 1-4 0,1 2 0 0,1 0-4 16,1 3 0-16,0 1 0 0,0 2 0 0,1 0 4 0,0 3 4 0,1 1-12 0,-1 3 8 16,-1 2-4-16,1 0 4 0,-1 2 0 0,1 3 0 0,-1 0 4 0,0 2-8 15,-2 1 8-15,1 2-4 0,-1 2 4 0,-1-2 4 0,-2 4-4 0,0-1-4 0,-1 1 12 16,-1 1-12-16,-1 0 4 0,-2 2 8 0,-1-2 0 0,0 3-4 15,-3-1 0-15,0 1 4 0,-2 0 0 0,0-1 0 0,-4 1 4 0,1 1 0 0,-2 0 0 16,-1-1 4-16,-2 1-4 0,-1-1 4 0,-1 1 0 0,-1-1 0 0,-2 1-4 16,-1-2 4-16,-1 3-4 0,-1-2 0 0,-1 1 4 0,-2 0-8 0,-2 0 0 0,-1-1 0 15,0 2-4-15,-2-1 4 0,-2-1-8 0,0 1 0 0,-2-1 4 0,-2 0-8 16,1 0 4-16,-4-1-4 0,0 0-4 0,0 0 8 0,-3-1-4 0,2-1 0 15,-4-1-4-15,-1 1 4 0,1-1-4 0,-3-2-4 0,1 0 4 0,-2-1 0 16,-1 0 0-16,0-3-8 0,-1 2 4 0,1-3 0 0,-1 0-4 0,1-1-12 0,0-1-8 16,0-1-8-16,2-1-12 0,-1-1-4 0,1 0-16 0,1-2-12 0,1 0-4 15,2 0-16-15,-1-1-20 0,1-2 0 0,2 1 12 0,1 0 12 0,2-1 12 0,1 0 8 16,0-1 8-16,3 2 8 0,-1-1 8 0</inkml:trace>
  <inkml:trace contextRef="#ctx0" brushRef="#br0" timeOffset="103612.9262">15289 14969 35 0,'3'-4'44'0,"-2"-2"0"0,2 2 0 0,-1-1-4 0,0 0 0 16,-1 1-4-16,1 0 0 0,0 0-4 0,-1 1 0 0,-1-1 0 15,0 1-12-15,0 0 8 0,0 1-4 0,-1 0 0 0,0 2 0 0,-2 0-8 0,1 2-4 16,-1-1 4-16,-1 3-4 0,-2-1 0 0,2 3 0 0,-2-1-4 0,0 3 4 16,0-1-4-16,-3 2 0 0,3 0 4 0,-3 2 4 0,1 0 0 0,-2 1-12 0,2 0 0 15,-2 0 0-15,-1 1 0 0,1 0 4 0,0 1-4 0,-2-1 4 0,2 1-4 16,0 0 4-16,-2 0 0 0,2 0-4 0,0-1 0 0,0 0 0 0,1 0 4 15,0-1-4-15,1 0 0 0,0-2-4 0,1 0 4 0,-1 0-4 0,2-2 4 0,-1 1-4 16,2-2-4-16,1-2 8 0,-1 2-4 0,2-3 0 0,0 1 0 0,1-2 0 16,0 0 0-16,1-1-4 0,0-1 0 0,1 1-12 0,0-2-16 0,1 0-16 0,0-2-12 15,0 1-20-15,0 0-20 0,0-2 4 0,0 1 12 0,0 0 12 0,-1-1 4 16,1 0 12-16,0 0 4 0</inkml:trace>
  <inkml:trace contextRef="#ctx0" brushRef="#br0" timeOffset="105293.0224">14603 15522 31 0,'0'-3'48'0,"0"3"-8"0,0-1-4 0,-1-1 4 15,0 1-8-15,0 1 0 0,0-1 0 0,1-1-8 0,0 2 0 0,-1-1-4 16,1 0 0-16,-1 0-4 0,1 1 0 0,-1-2-4 0,1 2 4 0,-1 0-4 15,2-2 4-15,-1 2-8 0,0 2 8 0,1-2-8 0,0 0 8 0,0 2-8 16,0 0-4-16,1 0 4 0,-1 0 4 0,3 1-4 0,-1-1 0 0,0 1 0 0,2 0 0 16,-1 0 0-16,0 0 0 0,0 1 4 0,1-2-8 0,1 2 0 0,-1-1 0 15,0 1-4-15,0 1 8 0,1-3-4 0,-1 1 0 0,2 1 4 0,-2 1-4 0,1-1 0 16,0-1 0-16,0 1 0 0,0 0 8 0,-1-1-4 0,0 1 4 15,0 0-4-15,-1 0 4 0,-1 0 0 0,1 1 0 0,-2 0 0 0,1-1-4 0,-2 2-4 16,0-1 4-16,0 0-8 0,-2 1 4 0,0 0 0 0,0 0 4 0,-3 0-4 16,1 1 0-16,0 0 4 0,-1 0 0 0,0 0 0 0,-1 0 0 0,0 1 4 0,-2-1-12 15,1 0 8-15,1 2-4 0,-1-3 8 0,0 2-4 0,-1-1 4 0,1 0 0 16,0-1 0-16,0 1-4 0,1-1 0 0,0 0 0 0,-1 0 0 0,1-1-4 15,1 0 4-15,1-2-4 0,0 2 4 0,1-3-4 0,0 1 0 0,2 0 4 0,0-1 0 16,1 0-4-16,0 0 0 0,1-2 4 0,1 1-4 0,1 0 0 0,0-1 0 16,1-1 0-16,1 0 0 0,1 1 0 0,-1-1 0 0,1 0 0 0,1-1 0 0,1 0 0 15,-1 1-4-15,0-1 0 0,2 0 4 0,-2 0-4 0,2-1 0 16,-1 0 0-16,1 0 0 0,0 0-4 0,-1-1 0 0,1 1 0 0,0-2-8 0,-1 1-20 15,0-2-12-15,-1 2-8 0,0-2-8 0,0 1-4 0,0-1-16 0,-1-1-16 16,-2 1-12-16,2-1 8 0,-2 0 12 0,1 0 12 0,-1 0 8 0,-1 1 8 0,0-2 8 16</inkml:trace>
  <inkml:trace contextRef="#ctx0" brushRef="#br0" timeOffset="105843.0539">14990 15482 35 0,'6'-5'60'16,"-1"0"-4"-16,1-1 8 0,2 2-8 0,-3 0-4 0,0 0-4 0,-1-1-4 0,1 1-8 15,-1 2 0-15,0-2 0 0,-2 2 0 0,1 1-8 0,-2-1-4 0,0 2 0 16,0 0-4-16,-1 2-4 0,-1-1 4 0,1 0-8 0,-1 2 4 0,-1 1 4 0,0 0-8 16,1-1 0-16,-2 2-4 0,1-1 0 0,2 1 4 0,-2 1-4 0,1 0 0 15,0 0 0-15,1 1-4 0,0-1-4 0,0 1 8 0,0 0-4 0,1 0 4 16,0 0-8-16,1 0 4 0,-1 0 0 0,3 1 0 0,-1-1 0 0,1 0-4 15,0 0 4-15,1 0 4 0,0 0-4 0,1-1-4 0,1 0 8 0,-1 0-8 0,1-1 0 16,1 2 8-16,0-3-8 0,0 2 0 0,-1-1-4 0,1 0 4 0,1 0 4 16,-1-1-4-16,0 1 4 0,-1-1-4 0,2 0-4 0,-2 0 4 0,0 0 0 0,1 0 8 15,-1-1-4-15,0 0 0 0,-1 1 0 0,-1-1-4 0,0 0 4 16,1 1 0-16,-3-2 0 0,2 1-4 0,-3 0 8 0,0 0 0 0,0 0-4 0,-1 1 4 15,0-3 0-15,-1 3 0 0,-1-2-4 0,-1 2 0 0,0-1 0 0,-1-1 0 16,0 1 0-16,0 0 0 0,-3-1-4 0,1 1 0 0,-1-1 4 0,0 1 0 0,0-1 0 16,-2 0-4-16,0 1 4 0,0-2 0 0,0 2-4 0,-2-3-4 0,1 2 4 15,-1-1-4-15,-1-1 4 0,1 0 0 0,0 0 0 0,-1 0 0 0,1-2 0 16,-1 1 4-16,1-3-8 0,0 1-4 0,0-1 8 0,0-1 0 0,2 0-4 15,-1-1 4-15,2-1 0 0,0 0 0 0,0-1 4 0,2-1-4 0,0 1 0 0,2-1 0 16,0-2 0-16,1 0 0 0,1 0 0 0,2 1-4 0,0-1 0 0,2 0 4 16,0-1 4-16,2 1-4 0,0 0 0 0,2-1 0 0,1 1-4 0,0 0 8 0,1 1-4 15,0-1 0-15,1 0-4 0,0 3 4 0,0-1 0 0,2 1 4 0,-3 1 0 16,2 0 0-16,1 0 0 0,-2 1 0 0,1 1 0 0,-1 1 0 0,0 1-4 15,1-1 8-15,-1 1-4 0,-1 1 0 0,0 0 0 0,0 1 0 0,-2 1 0 0,1-2 0 16,-1 2 0-16,0 0-4 0,-1 2 0 0,0-2 0 0,-1 2 0 0,0-1 4 16,1 1 0-16,-2-1-4 0,0 0 0 0,0 1 0 0,0-1 0 0,-1 1 0 0,1-1 4 15,0 0-4-15,1 1 4 0,-1-1-4 0,-1 0 0 0,0-1 0 16,2 1-4-16,-2 0 4 0,0-1-4 0,0 0-8 0,1 0-4 0,-1 0-16 0,0 0-12 15,-1 0-16-15,0 0-8 0,-1-1-12 0,0 1-24 0,0 0-12 0,-1-1 12 16,0 1 16-16,-1 0 8 0,0 0 8 0,0 1 8 0,-1 0 8 0,0 0 4 0</inkml:trace>
  <inkml:trace contextRef="#ctx0" brushRef="#br0" timeOffset="106352.083">14792 15998 23 0,'-12'7'40'0,"-1"0"-4"0,-1-1-4 0,1-1 0 16,0 1-4-16,1-3 0 0,-2-1 4 0,2 2-4 0,0-2-4 0,-1 0 0 16,0-1 4-16,1 0-4 0,0-1 4 0,-1-1-4 0,1-1 0 0,0 0 0 15,0 0-4-15,0-1 0 0,1-1-4 0,-2 1 0 0,3-2-8 0,-1 1-4 16,-1-2 8-16,3 0 4 0,0 0-8 0,-1-1 4 0,1 0 4 0,1-1-4 0,1 0-12 15,-1-1 12-15,3-1-4 0,0-2 4 0,1 2-12 0,0-2 0 0,2-1 4 16,1 0 0-16,0-1-8 0,2 0 8 0,1-1-8 0,1 0 12 0,2-2 0 0,1 1-8 16,0-2 4-16,3 1 0 0,1-1 0 0,1-1 0 0,2 0-4 0,0 0 4 15,3 1-4-15,0-3 0 0,2 2 0 0,1-1 0 0,1 1 0 0,2 0 0 16,0 1 0-16,3-1 0 0,0 2-4 0,2-1 8 0,0 3-4 0,1 0 4 15,0-1-4-15,1 3 0 0,0 1 0 0,0-1 4 0,1 2-4 0,-1 1 0 0,1 2 8 16,-1 1-8-16,1 0 0 0,-2 2 0 0,0 1 4 0,0 2 0 0,-1 1 0 16,-1 1 4-16,0 1-4 0,-2 1 0 0,0 2 4 0,-1 1 0 0,-2 1 0 0,-1 0 0 15,0 2 0-15,-2 1 0 0,-1-1 0 0,-1 3 0 0,-2 0-8 0,-2 0 8 16,0 1-4-16,-1 1 0 0,-2-1 0 0,0 1 8 0,-2 1-4 0,-1 1 8 15,0-2 0-15,-2 4-4 0,1-3 0 0,-2 1 0 0,-2 0 4 0,0 1-4 0,-1-1 4 16,-1 1 0-16,0-1 0 0,-2 1 0 0,-1-1 0 0,0 0 0 0,0 1-4 16,-2-1 0-16,0 0 0 0,-1-1-4 0,-2 1 4 0,0 0 0 0,-1 0 0 15,-1-2 0-15,0 1 0 0,-2-1-4 0,-1 1 0 0,0-2-4 0,-1 0 0 16,-1 0 0-16,-1-1 0 0,-2 1-4 0,1-2 4 0,-1 0-4 0,0 0 4 0,-2-2 0 15,0 0 0-15,0-1 0 0,0 0-4 0,-1-2 0 0,1 1 0 0,-1-1 0 16,-1-3 0-16,2 1 0 0,0-1-4 0,-1 0 4 0,1-1-4 0,2-1 0 0,-1-1 0 16,1 0 0-16,2 0-4 0,-1-1-8 0,3 1-4 0,0-3-12 0,-4072 1-4 15,8147 0-20-15,-4072-1-8 0,2 0-8 0,1-1-12 0,2 0-28 0,0 1-8 16,2-1 12-16,2-1 12 0,1 0 12 0,1 1 8 0,2-1 8 0,0 0 12 15,2 0 0-15</inkml:trace>
  <inkml:trace contextRef="#ctx0" brushRef="#br0" timeOffset="106929.116">16877 15159 11 0,'-3'-4'56'16,"1"1"-4"-16,-1 0-4 0,1 0-4 0,0 0-8 0,-1-1 0 0,1 2-4 16,-1 1-4-16,1-2-4 0,1 2 0 0,-1 0 4 0,2 0-8 0,-1 1 0 0,1 1 0 15,1 0 0-15,0 1-8 0,0 0 0 0,0 0 4 0,1 1 0 16,2 1 8-16,-1 0-8 0,0 1 8 0,1-1-8 0,1 1 0 0,1 1 4 0,1-1-4 15,0 2-4-15,0-2 4 0,1 2-4 0,3-1 8 0,-3 0-8 0,1 0 0 16,1-1 0-16,0 2-12 0,-1-1 12 0,0 1 0 0,2-2 4 0,-1 1-4 0,-1-1 0 16,2 0-4-16,-2 0 4 0,0-1 0 0,0-1-4 0,-1 1-4 0,0-1 0 15,-1 0 4-15,1 0 0 0,-2-1-8 0,0 0 4 0,-1-1 4 0,0 0 0 16,0-1-4-16,0 1-4 0,-2-1 4 0,0 2 0 0,0-2-4 0,-1-2-8 15,1 2-8-15,-2-1-12 0,0 1-20 0,0-2-16 0,0 0-12 0,-2 0-40 0,0-1 4 16,0 1 16-16,0-1 8 0,-1 0 8 0,0 0 8 0,-1 0 12 0,1-1 8 16</inkml:trace>
  <inkml:trace contextRef="#ctx0" brushRef="#br0" timeOffset="107802.1659">16873 15522 23 0,'-4'-4'48'0,"0"1"-4"16,1 1-8-16,0-1-4 0,-1 0 0 0,2 1-8 0,0 1 0 0,1-1 0 15,-1 0-8-15,1 2 4 0,1-1-4 0,0 0 0 0,1 1 0 0,0 1-4 0,1 0 0 16,-1-1 0-16,1 2-4 0,0 0 0 0,2-1 0 0,-1 1-4 0,0 1 0 16,1 0 4-16,-1 0-4 0,1 0 4 0,0 1-4 0,0 0 0 0,2 1 0 0,-2-1 4 15,0-1 0-15,0 2 0 0,0 1-4 0,0-2-4 0,-1 3 4 16,0-2 4-16,1 1 0 0,-2 0 0 0,0 0 0 0,-1 2 0 0,-1-1-4 0,0-1 0 15,-1 2 0-15,-1-1 4 0,1 0 4 0,-4 0-4 0,1 2 4 0,0-2-4 16,0 2-4-16,-2-2 8 0,1 1-12 0,0-1 8 0,-3 1 8 0,1 0-8 0,1-1 4 16,-1 1 0-16,0-1-4 0,0 0 0 0,2 0 8 0,-2-1-8 0,1 0-8 15,-1 1 8-15,2-2-4 0,0 0 4 0,0-1 0 0,1 2-4 0,1-3 4 16,0 1 0-16,0-2 4 0,3 1 0 0,0-1 4 0,3 0-8 0,0-1 8 15,0-1 0-15,2 0 0 0,0 0 0 0,2-1-4 0,1 0 4 0,1-2 0 0,0 3 0 16,1-3 0-16,2 1 0 0,-1 0-4 0,3 0 4 0,-2-1 0 0,0 0-4 16,2-1 0-16,-1 2 0 0,2-1 0 0,-1-1 0 0,1 2 0 0,-1-2-4 0,1 1 0 15,0 0 0-15,0 0 0 0,-2-1-4 0,2 1 0 0,-3 0 4 16,0-1-4-16,2 2-4 0,-4-1 4 0,1-1 0 0,0 2 0 0,-2-1-4 0,-1 1 0 15,1-1-4-15,-1 1 0 0,-2 0-4 0,0 0-12 0,1 0-12 0,-3 0-4 16,0-1-12-16,0 1-16 0,-2 0-8 0,1-1-12 0,-1 1-28 0,0-1-8 0,-1 1 12 16,1-1 16-16,-1 0 12 0,0 0 8 0,-1 0 4 0,0 0 12 0,-1 0 4 15</inkml:trace>
  <inkml:trace contextRef="#ctx0" brushRef="#br0" timeOffset="108301.1945">17423 15432 11 0,'5'-1'100'0,"0"-1"-8"0,0 2-16 0,1 0-4 15,-1 2-8-15,0-2-4 0,-1 1-4 0,1 0-12 0,-2 2 0 0,1-1-4 16,-1 3 0-16,2-2-8 0,-2 2 0 0,0-1-4 0,1 1 0 0,-1 0-4 0,-1 0-4 16,1 0 0-16,-1 1-4 0,0 0 0 0,-1 0 0 0,-1 1-4 0,1 0-4 15,-1-2 0-15,0 2 0 0,-1-1 0 0,0 1-4 0,-1 0 4 0,0-1 0 16,-1 1 0-16,0-1-4 0,0 1 0 0,-1 0 0 0,0-2 0 0,-2 2 0 0,2-1 0 15,-1-1 0-15,1 2 0 0,-1-2 0 0,0 1 0 0,1-1 0 0,-2 0 0 16,2 0 0-16,-1 0-4 0,1-1 0 0,-1 0 4 0,2 0-4 0,0-1 0 0,0 1 4 16,-1-2-4-16,3 1 0 0,0-1 0 0,0 1 0 0,1-2 0 0,1 1 0 15,0-1 4-15,1-1-4 0,1 0 4 0,1 2-4 0,0-1 0 0,1-1 4 16,0 0-4-16,0 0 0 0,0 0 0 0,3 0 4 0,-2 0-4 0,1 0 4 15,0 1-4-15,2-1 4 0,-2 2 0 0,0-2-4 0,1 0 0 0,0 1 0 0,0 0 0 16,-1 0 4-16,-1 0 0 0,2-1 4 0,-1 2 0 0,-1-1 4 0,0 1 0 16,-1 0 0-16,1 1 0 0,-3-1 0 0,0 1 0 0,1 1 0 0,-2 0-4 0,-1 1 4 15,0-1 0-15,-1 1 0 0,0 0-4 0,-1 0 0 0,-1 2-4 16,0-1 4-16,-2 0-4 0,1-1 4 0,-2 2-4 0,1-2 4 0,-1 1-8 0,0 1 0 15,0-2 0-15,0 2 0 0,-2-2 0 0,0 2 0 0,1-1 0 0,0 0-4 16,-1-1 4-16,0 1-4 0,-1-2 0 0,2 1-4 0,-1-2 0 0,0 2-12 0,-1-3-8 16,2 0-8-16,-1 1-8 0,0-2 4 0,-1 0-4 0,2-1-16 0,-1 0-4 15,2 0-4-15,-3-1 0 0,1 0-12 0,2-1-16 0,-2 1-12 0,1 0 8 16,-2 0 8-16,1-1 12 0,1 0 8 0,0 1 8 0,0-1 12 0,-3 1 4 15</inkml:trace>
  <inkml:trace contextRef="#ctx0" brushRef="#br0" timeOffset="108744.2198">16791 16033 19 0,'-13'0'32'16,"-1"-1"-4"-16,2-1 0 0,-1-1-4 0,1 0-4 0,0-2 0 0,2-1-4 15,-1-1 0-15,2 0-4 0,1-3 0 0,-1 1 0 0,1-2-4 0,2-2 0 16,-1 1-4-16,0-2 0 0,2 0 4 0,1-2 0 0,-1 0 0 0,1 1-4 0,1-2 0 15,0 1 0-15,0-1 4 0,2-1-4 0,-2 1-4 0,2-2 4 0,1 2 0 16,0 0 0-16,1-2 4 0,2 1-4 0,-1 0 4 0,1 0-4 0,2 0 4 0,0 0-4 16,1 1 0-16,1-1 4 0,3 0 0 0,-1 3-4 0,2-3 0 0,1 1 4 15,2 0 4-15,2 2-4 0,1 0 0 0,2-1 0 0,1 1 0 0,1 1 0 16,3-1 0-16,0 2 0 0,2 0-4 0,1 1 8 0,0 0-4 0,3 0 0 15,0 1 0-15,1 1 0 0,1 0 0 0,0 1 0 0,3 0 0 0,-2 2 0 0,1-1-4 16,0 2 4-16,0 1-4 0,1 0 4 0,-2 1 0 0,1 1-4 0,0 1 0 16,-1 0 4-16,0 2-8 0,-2 0 12 0,0 2-12 0,-3 0 8 0,0 1 4 0,0 0-8 15,-3 2 8-15,-1 0-8 0,-1 2 0 0,-2-2 8 0,-1 3-4 16,-2-1 8-16,-2 1 0 0,0 1 0 0,-3 0 0 0,-1 1 0 0,-2 0 4 0,-1 2 0 15,-3-1 0-15,-1 1 4 0,-2 2 0 0,0-2-4 0,-3 3 0 0,-3 0 0 16,0 0 4-16,-2 2-4 0,-1 0 0 0,-3 0 0 0,-1 1 0 0,-1 2-4 0,-1 1 0 16,-3-1-4-16,1 1 0 0,-4 1 0 0,0-1-4 0,-1 2 0 0,-1 0 4 15,-2-1-8-15,0 1 4 0,-1 0-4 0,-2-1 0 0,0 1 4 0,1-1-4 16,-2 0 0-16,1-2 0 0,-2 0-4 0,2-1 4 0,0-2-4 0,0 1 4 15,0-3-4-15,-1 0 0 0,1-2-4 0,3-1 0 0,-2-2-4 0,0-2-4 0,1-1-4 16,0-2-16-16,2-2-8 0,-1-1 0 0,1-2-12 0,1-2-12 0,0-1-8 16,2-2-12-16,-1-1-28 0,2-2 0 0,1-1 12 0,-1-1 8 0,2-2 12 0,0 1 8 15,2-1 12-15,-2-2 4 0</inkml:trace>
  <inkml:trace contextRef="#ctx0" brushRef="#br0" timeOffset="109628.2704">13894 16034 7 0,'0'-5'44'0,"-1"-2"4"0,0 2-4 0,0-2 0 0,1 1-8 0,-1 0 4 16,0 1 0-16,-1-2 4 0,1 2-12 0,-1 0 4 0,0-1 4 0,1 2-8 0,-1-1 4 16,1 0 0-16,-2 3-4 0,1-3-8 0,1 2 4 0,-3 0 0 0,3 1 0 15,-2-1-4-15,1 2-8 0,-1 0 4 0,1 1 0 0,-1 0 0 0,1 1 4 16,0 0-4-16,-2 2-4 0,1 0 4 0,0 2-4 0,-2 0 0 0,2 0 0 15,-1 1 0-15,1 1 0 0,-2 1 0 0,1 0-4 0,-1 3 0 0,-1-1 0 0,1 1 0 16,-1 2 0-16,1 0 0 0,-2 0 0 0,0 2-4 0,0 0 4 0,0 1-4 16,0 1 4-16,-1 1 0 0,0-3 0 0,0 4-4 0,1-2 0 0,-3 1 0 0,3 1 0 15,-1-1 0-15,1 0 0 0,-3 0-4 0,3-1 4 0,0 0 0 16,0-1 0-16,-1 0 0 0,2-1-4 0,-1-1 0 0,2-1 0 0,-1-1 0 0,-1 1 0 15,2-3 0-15,1-1-4 0,0 1 4 0,0-2 0 0,2-2 0 0,-1-1-4 16,1 0 0-16,0-3 0 0,1 1 0 0,-1-3 0 0,2 0-4 0,2-1 8 0,-1-2-8 16,1 1-4-16,-1-2-8 0,1-1 0 0,0 1-16 0,1-1-4 0,-1-1-8 15,1 0-12-15,-1 0-8 0,1 1-8 0,-1-1-4 0,1 1-20 0,-1-1-20 16,1 1 4-16,0-1 12 0,0 1 12 0,0 0 12 0,-2 0 4 0,2 0 12 0,-2 0 4 15</inkml:trace>
  <inkml:trace contextRef="#ctx0" brushRef="#br0" timeOffset="110546.3229">13284 16507 43 0,'-1'0'60'0,"1"1"-4"15,-1-5-4-15,1 6-8 0,0 1 4 0,1 1-12 0,-1 1 0 16,0 0 4-16,1 1-16 0,2-1 0 0,-2 4 4 0,1-2 0 0,1 2-4 0,0 0 0 15,0 0 0-15,0 1 0 0,1 0-8 0,0 0-4 0,1 2-4 0,1-1 4 16,-2 1 4-16,1 0-8 0,1 1 4 0,1-1 0 0,-1 0 0 0,0-1 0 0,1 2-4 16,0-1 0-16,0 1-4 0,1-3 4 0,0 1-8 0,0-2 8 0,-1 1 0 15,1 0 0-15,0-2-8 0,-1 0 0 0,0 0 4 0,1-2 0 0,-1 1-4 16,0 1 8-16,-1-2-4 0,1 0 4 0,-1-1-4 0,0 0 4 0,-1 0-4 15,-1 0 0-15,1-2 4 0,0 2-4 0,-2-1 4 0,0 0 4 0,0-1-8 0,-1 1-4 16,-1-1 4-16,1 1 0 0,-2 0 0 0,0-1 4 0,-1 1-4 0,0-1 4 16,-1 1 0-16,1-1-4 0,-3 1 4 0,2-2-8 0,-1 1 0 0,-2 0 0 0,0 0 4 15,1 0 4-15,-2-1-4 0,1 0-8 0,-2 1 8 0,1-1 0 0,-2 0 0 16,2-2 0-16,-2 2-8 0,-1-1 8 0,0-1-4 0,1 1 0 0,-2 0 8 15,1-2-8-15,0 1 0 0,-1-1-4 0,0 0 8 0,0 0-4 0,1 0 4 0,-1-2 0 16,0 1-4-16,2 0 4 0,-2-1-8 0,2-1 0 0,1 0 4 0,-1 0 0 16,0-1-4-16,2 0 0 0,0-1 8 0,1-1-8 0,1 1 4 0,1 0 0 15,1-3 0-15,-1 1 0 0,2-1 0 0,1 0 0 0,1 0-4 0,2-1 0 16,0-2 8-16,1 2-4 0,1-2 0 0,1 1 0 0,0-1 4 0,3 1 0 0,-1-2 0 15,1 1-4-15,0 0 4 0,2 1-4 0,-1-1 0 0,0 1 0 0,2 0-4 16,-2 0 0-16,3 1 4 0,-2 0 4 0,0 1-8 0,1 1 8 0,-1 0-12 0,0 1 12 16,0 0-4-16,0 1 4 0,-1 0-4 0,2 2 4 0,-3 0 0 0,0 0 0 15,2 2 0-15,-3 0-4 0,1 0 8 0,1 0-4 0,-2 2 0 0,-1 0-4 16,1 0 0-16,-1 2 0 0,0-2 0 0,-2 2 0 0,1-2 0 0,-1 2 0 15,2-1-4-15,-2 1 4 0,-1-1 4 0,1 1-12 0,-1-1 8 0,-1 0 0 0,1 1-8 16,0-1 0-16,-1 0-4 0,0-1-8 0,0 2-16 0,-2-1-4 0,1 0-12 16,-1 0-8-16,0 0-4 0,-1 1-28 0,0-1-16 0,0 0 12 0,0 0 8 0,-1 1 12 15,0-1 4-15,0 1 12 0,0-1 4 0</inkml:trace>
  <inkml:trace contextRef="#ctx0" brushRef="#br0" timeOffset="110866.3412">13784 16581 19 0,'6'-3'36'0,"1"1"0"0,-2 0-8 0,1 0 4 15,1 2-4-15,-1-2-4 0,-1 1 0 0,0 2 0 0,-1-1 0 0,2 2 0 0,-1-1-4 16,0 0 0-16,-1 2 0 0,0-1-4 0,0 0 0 0,0 1 0 0,1 1 0 16,-2-1 0-16,0 1-4 0,0 1 4 0,0-1 0 0,0 0 0 0,-1 1 0 0,1 0 0 15,-1 1-4-15,0 0 0 0,0 0 4 0,0-1-8 0,0 1-4 0,-1-1 4 16,-1 2 0-16,0 1 0 0,0-3 0 0,-1 2-8 0,-1-1 8 0,0 1 0 15,0-1 0-15,-1 0 4 0,1 1-4 0,-2-1 4 0,0 0 0 0,0 1-4 16,0-1 0-16,0 1 4 0,-2-2 4 0,2 1-8 0,-1-1 0 0,1 1 0 0,0-1 0 16,0-1 4-16,-2 1-8 0,2-1 0 0,1 1 4 0,-1-1 0 0,1-1-4 15,1 1 4-15,-1-1 0 0,1 0 0 0,2-2-4 0,-1 0-4 0,1 1 8 16,1 0 0-16,0-1 0 0,1-1-8 0,0 0 4 0,2 0 0 0,-1 0 4 0,1-1 0 15,1-1-4-15,2 0-4 0,-2 2 4 0,1-2 4 0,1-1-8 0,-1 3-4 16,3-2 4-16,-2 0 0 0,0-1 0 0,3 2 4 0,-3-1-8 0,1 0 4 0,0-1-4 16,2 1 0-16,-2 0-4 0,0-1-4 0,0 1-12 0,0-1-16 0,0 1-8 15,-2 1-12-15,1-1-32 0,0 1-12 0,-2 0 4 0,0 0 12 0,0-1 8 16,-1 2 12-16,0-2 8 0,-1 2 8 0</inkml:trace>
  <inkml:trace contextRef="#ctx0" brushRef="#br0" timeOffset="111421.3729">13554 17165 7 0,'-10'5'36'0,"-2"-2"0"0,0 1-8 0,0-2 0 0,0 0-4 0,0 0-4 15,0 0 8-15,-2-2-8 0,1 0-8 0,-1-1 8 0,1 0 4 0,-2-1-4 0,0 0 0 16,-1 0 0-16,2-2-4 0,-3 1 0 0,2-1 0 0,-1 0 0 0,1 0-4 16,-2-3 0-16,3 2 0 0,-2-1 4 0,1-1-8 0,0 0 4 0,1 0 4 0,-1-1 0 15,2-1-8-15,1 0 4 0,-1-1-8 0,1-1 0 0,1 1 8 0,1-2-4 16,0 0-8-16,1-1 8 0,1-1-8 0,1 0 4 0,1-2 4 0,1 1 4 15,0-2 0-15,2 0-8 0,1-1 4 0,2-1-8 0,0-2 0 0,1 1 12 0,1-3-4 16,1 1 0-16,2-1-4 0,-1-1-8 0,3 0 12 0,-1 0-8 0,2 0 0 16,1-1 0-16,-1 0 4 0,2 1 0 0,1-1 0 0,0 1-4 0,1 0-8 0,1 1 4 15,-1 0 12-15,3 0-4 0,0 1-8 0,2 2 0 0,-1 0 12 16,2 1-8-16,0 1-8 0,2 1 12 0,1 2-4 0,-1 0 4 0,2 1 4 0,2 2-4 15,0 1-4-15,1 2-4 0,-1 2 0 0,2 1 4 0,1 2 4 0,0 1 0 16,0 1 0-16,1 1 0 0,1 2 0 0,0 1-8 0,0 0 12 0,2 2-12 0,-2 0 4 16,4 1-4-16,-4 1 0 0,4 1 12 0,-2 0-4 0,0 0 4 0,0 1-8 15,-1 2 0-15,0-1 4 0,-2 1 4 0,0 0-8 0,0 0 4 0,-2 1 4 16,-1 0 0-16,0 1 0 0,-3 0-4 0,-1 1 4 0,0 0-8 0,-3-1 8 0,0 1 0 15,-2 1-4-15,-1 0 12 0,-3 0-8 0,0 1 0 0,-3 0 8 0,-1 0-4 16,-3 0 4-16,1 1-8 0,-4 1 8 0,-1 0 0 0,-3-1-4 0,-1 1 0 16,-2 1 0-16,-2 0-4 0,0-1 4 0,-3 0 0 0,-2 1 0 0,-1 0-4 0,-2 0 0 15,1 0-4-15,-4-1 0 0,1 1 0 0,-3 0 0 0,0 0 0 0,0-1 0 16,-2 0 4-16,-2 1-4 0,2-3 0 0,-3 2-4 0,0-3 4 0,-1 0-4 15,0-1 0-15,0 1 0 0,0-3 4 0,-1 1 0 0,0-1-4 0,0-2 0 0,-1 0 4 16,1-1-4-16,1-1 0 0,-1 0 0 0,2-2 0 0,0 0 0 0,1-1 0 16,1-1 0-16,2-1 0 0,-1 0-4 0,2-1-4 0,2-1-8 0,-1 0-8 0,2-1-4 15,2-2-16-15,1 1-8 0,0-1-8 0,3 0-12 0,-1-2-24 16,3 0-16-16,2 1 8 0,1-2 12 0,0-1 12 0,2 2 8 0,3-2 8 0,0 0 4 15</inkml:trace>
  <inkml:trace contextRef="#ctx0" brushRef="#br0" timeOffset="112750.449">15279 16199 23 0,'-3'-4'40'0,"0"2"-4"0,1-1 0 15,0 0 4-15,0 0-4 0,-1 1-4 0,2-1 4 0,-2 1-8 16,2 0 4-16,-1-1-12 0,-1 0 0 0,2 1 0 0,-1 0-4 0,1 0 0 0,0 1 0 15,0 0 0-15,1 0 4 0,0 1-4 0,0 1-4 0,0 0 0 0,1 2-4 16,-1-1 16-16,2 1-12 0,0 1 4 0,-1 1-4 0,2-1-4 0,-1 1 12 0,1 1-4 16,0 1-4-16,0-2 0 0,1 2 0 0,-1 2 4 0,0-3-4 0,1 2 0 15,0-1-8-15,1 1 12 0,-1 0-8 0,0 0 8 0,0 0-4 0,1 1-4 16,-1 0 0-16,0-1 0 0,1 0 0 0,-1 1-4 0,0-2 4 0,0 1 4 0,0 0-4 15,-1-1-4-15,0-1-4 0,0 0 4 0,1 0-4 0,-1 0 8 0,-1-3-4 16,0 2 4-16,1-1-8 0,-1 0 8 0,-1 0-4 0,1-1-4 0,0 0 4 16,-2 0 0-16,2-2-8 0,-1 2 8 0,-1-1-4 0,1 0 4 0,-1-1-8 0,1 1 0 15,0-2-8-15,0 0-12 0,0 0-12 0,0 0-16 0,-1-1-12 0,1-1-28 16,0 0-20-16,-1 1 12 0,2-1 16 0,-1 0 8 0,-1 0 0 0,0 0 16 15,0-1 4-15</inkml:trace>
  <inkml:trace contextRef="#ctx0" brushRef="#br0" timeOffset="113208.4752">15423 16433 3 0,'0'-3'36'16,"1"0"0"-16,-1 0 0 0,-1 1-4 0,0 0-4 0,-1 1 0 0,0 2 0 15,1 1-4-15,-2-1-4 0,1 2 0 0,-2 1 0 0,1 0 0 0,0 3 4 0,0 1 0 16,-1-1-4-16,0 3 0 0,0 0-4 0,0 1 4 0,-1 1-4 0,1 1 0 16,-1 0-4-16,1 2 0 0,0 0 0 0,0 2 0 0,0-2 0 0,1 2 0 0,-1 1-4 15,1 0 8-15,1-1-4 0,-1 1-12 0,2 1 8 0,-1-1 4 16,1-1-12-16,0 1 0 0,0-2 4 0,1 1 8 0,0-2 0 0,1 1-4 0,0-2 0 15,-1 1 0-15,2-4-8 0,0 1 8 0,0-1-4 0,1-1 0 0,1-1 4 16,0-1-4-16,0-1 0 0,0-1 0 0,1-2 8 0,0 0-4 0,0-1-8 0,2-1 8 16,-2-2-12-16,1 0 4 0,1-2-4 0,-2 0 8 0,3-1 4 0,-2 0-4 15,0-2-8-15,0 1 8 0,0-2-4 0,1 0 4 0,-1 0 0 0,-1-1 4 16,1 0-4-16,-2 1 0 0,1-2 4 0,0 0-4 0,-2 1 4 0,0-2-12 0,1 2 4 15,-3-2 4-15,2 2-4 0,-3-1 4 0,1 0 0 0,-1 0-4 0,-1 0-4 16,1 0 4-16,-2 1 0 0,0 0 8 0,-2 1-4 0,0 0-8 0,-1 0 8 0,0 1-4 16,-1 0-4-16,1 1 8 0,-1-1 4 0,-1 3-8 0,-1-2-4 15,1 1 4-15,-1 1 4 0,1 0 0 0,-2 0-4 0,1 1 0 0,-1 1 0 0,1 0 0 16,0 0 4-16,0 1-4 0,0 1 0 0,-1-1 0 0,2 1-4 0,-1 1 4 15,2-1 4-15,-2 2-8 0,2-2 4 0,1 2 0 0,0 0 0 0,0 1-4 0,1 0 0 16,1-1 0-16,0 0 4 0,0 1-4 0,3 0 8 0,-1-1-8 0,2 1-8 16,-1 0 8-16,2 0-12 0,0-2-8 0,2 1-4 0,0 1-8 0,0-2-4 15,1 1-4-15,1-2-4 0,0 1-4 0,2-2-12 0,-1 1-8 0,1 0-4 16,1-2 4-16,1 0 8 0,-1 0 8 0,1-2 4 0</inkml:trace>
  <inkml:trace contextRef="#ctx0" brushRef="#br0" timeOffset="113472.4903">15601 16738 11 0,'8'-2'32'0,"-1"1"0"0,0-1-4 0,0 2 0 0,-1 0-4 0,0 0 0 0,-1 0-4 16,0 2 4-16,-1-1-4 0,1 1-4 0,-2 0 0 0,0 1 0 0,1-1 0 15,-1 1 0-15,0 0 0 0,0 1 0 0,0-1 0 0,-1 0-4 0,3 1-4 0,-3-1 8 16,1-1-4-16,1 1 4 0,-1-1 0 0,0 0 0 0,0-1 8 0,1 1-4 16,-1-2 4-16,2 0-12 0,-2 0 12 0,1-1-8 0,1-1 0 0,-1 0-8 15,0 0 8-15,0-1-4 0,0-1-8 0,1-1 8 0,-1 1-4 0,0-2 0 16,0 0 8-16,0 1-12 0,-1-2 4 0,0-1-8 0,0 1 8 0,0 0 4 0,-1-2-4 15,-1 2 0-15,0-1-4 0,0 1 8 0,-2-1-8 0,0 1-4 0,0-1 0 16,-3 2 4-16,2 0 0 0,-2 1 0 0,0 0-4 0,-1 0 0 0,-1 0 4 0,0 3-4 16,-1-1 0-16,0 3 4 0,0-1-4 0,-1 2 4 0,-2 1-4 0,2-1 4 15,0 1-4-15,0 3 0 0,-2-2 0 0,2 2 4 0,-1 0-4 0,0 1-4 16,2 0 0-16,0 1-4 0,0-1-8 0,-1 1-8 0,3 1-12 0,-1-1-8 0,2 0-4 15,-1 0-20-15,2 0-24 0,-1-1 0 0,1 1 8 0,0-2 8 0,3 1 12 16,-1-1 4-16,1 0 8 0</inkml:trace>
  <inkml:trace contextRef="#ctx0" brushRef="#br0" timeOffset="113999.5204">15438 17025 3 0,'-11'10'36'0,"0"-4"0"0,-1 2-4 16,1-2-4-16,-1 0 0 0,1 0-4 0,-1-3 0 0,0 1 0 0,1 1 0 0,0-3-4 16,-1-2 0-16,1 1 0 0,0-2-4 0,0-1-4 0,0-2 4 15,2-1-8-15,-2 0 4 0,1-1 0 0,1-1-4 0,-1-2 0 0,2 1-4 0,0-3 4 16,-1 0 0-16,2 0-4 0,-1 0 4 0,2-2-4 0,0 0 0 0,-1-2 0 0,1 1 0 15,1-2 0-15,0 1-4 0,1-2 4 0,1 1 0 0,-2-2 0 0,3 1 4 16,1-2-4-16,0 0 4 0,2-1-4 0,0-2 0 0,1 2 0 0,3-1 4 16,0-1 0-16,0 0-4 0,2 1 4 0,1-1-4 0,2-1 0 0,1 3 0 0,0-3 4 15,3 2-4-15,0-1 4 0,2 1-4 0,0 1 0 0,3 0 0 0,-1 1 0 16,1-1 0-16,1 2 0 0,2 0 0 0,-1 2 4 0,1 0-8 0,1 1 4 0,1 2 0 15,-1 1 0-15,1 0 4 0,1 2 0 0,0 1 0 0,-1 2 0 16,0 1-12-16,1 1 8 0,0 2 0 0,-1 0 8 0,-1 3-8 0,1-1 4 0,-1 2-8 16,0 2 8-16,-2 0-8 0,1 1 8 0,-1 1 0 0,-1 1 4 0,0 2-4 15,-1 0-4-15,-2 0 8 0,0 2 0 0,-1 0-4 0,0 1 4 0,-2 1 0 0,1 0-4 16,-2 1 0-16,0 0 0 0,-2 1 4 0,-1 1 4 0,1 0-4 0,-3 1-4 15,-1 0 4-15,-1 1 0 0,-1 1 0 0,1-1-4 0,-3 2 8 0,-1 0 0 16,-1 0 0-16,-1 1 0 0,-1-1 0 0,-1 1 4 0,-1 0-8 0,-1 0 4 0,-2 0 0 16,0 0-4-16,-1 1 4 0,0-1 0 0,-3 0 0 0,1-1-4 0,0 1 0 15,-3-1-4-15,0 0 4 0,0 0-4 0,-1 0 4 0,0-1-4 0,-2-1 0 16,1 0 0-16,-2-2 0 0,1 1-4 0,-1-2 4 0,-1 0-4 0,0-2 4 15,1 1-4-15,-3-2 4 0,1 0-4 0,1-2 0 0,-1 0 0 0,0-1-4 0,-1-2 0 16,1 0 0-16,-1-2 0 0,0 0 0 0,2-1 0 0,-2-1 0 0,1-1 0 16,1 0 0-16,0-1-8 0,1 0 0 0,-1-1-4 0,3-1-4 0,-1 1-16 0,2-2-12 15,0 1 0-15,-1-2-12 0,4 0-16 0,-2 1-8 0,2-1-24 16,1 1-20-16,1-2 8 0,0 1 12 0,3-2 12 0,0 3 12 0,0-1 4 0,2 0 12 0,1 1 8 15,0 0 4-15</inkml:trace>
  <inkml:trace contextRef="#ctx0" brushRef="#br0" timeOffset="114657.558">16902 16280 19 0,'-2'-5'40'0,"0"2"0"0,0-2-4 16,0 0 0-16,1 0 4 0,0 0-4 0,0 1 4 0,-1-1-4 0,2 0 0 15,-2 0 0-15,1 0 0 0,1 0-12 0,-1 1 8 0,0-1-16 0,1 0 16 0,-1 2-8 16,1-1 0-16,0 2 0 0,0 1-8 0,0-1 8 0,0 2-4 0,-1 2 0 0,0-1 0 15,-1 1-4-15,1 3 4 0,-1 0-4 0,0 1 0 0,-1 2-4 0,0-1 4 16,0 3 0-16,-1-1-8 0,0 1 4 0,0 1 0 0,0 0 0 0,0 2-4 16,0-1 0-16,0 1 0 0,0 1 0 0,0-1 0 0,-1 1 0 0,1 0-4 15,0-1 0-15,0 1 0 0,1 0 0 0,-2-1 0 0,1 1-4 0,1-1 0 0,-1-1 0 16,1-1 0-16,0-1 0 0,1 0-4 0,1 0 0 0,-1-1 0 0,1-2 4 15,1 0-12-15,0-1 0 0,-1-1-12 0,2-1-8 0,-1 1-12 16,0-3-12-16,1 1-12 0,-1-1-16 0,0-1-20 0,1 0 8 0,-1 1 8 0,1-1 12 0,-1-1 8 16,0 1 8-16,0-1 4 0</inkml:trace>
  <inkml:trace contextRef="#ctx0" brushRef="#br0" timeOffset="114955.5751">16619 16672 23 0,'-6'3'52'0,"-1"1"-8"0,2-2-4 15,-1 2-4-15,1-2-4 0,0 1-4 0,1-1-4 0,-1 1 0 0,2-1-4 16,0 0 0-16,2 0 0 0,-1 1-8 0,0-2 4 0,2 0-4 0,0 1 0 0,1-1-4 15,1 1 0-15,0-2 4 0,1 1 0 0,0-1-4 0,0 0 4 16,3 1 4-16,-1-1-4 0,1 0 0 0,0-1-4 0,0 1 0 0,3-1 4 0,-2 1-4 16,0 0 0-16,2-2 4 0,0 2-4 0,-1-1 4 0,1 1-4 0,0-1-4 15,0 1 0-15,-1 0 4 0,1 0-4 0,0 0-4 0,-1 1 0 0,-1 0 8 0,1 1 0 16,-1-1 0-16,0 1 0 0,-1 1 4 0,-1 0-4 0,0 1-4 0,1 1 12 15,-3 0-12-15,1 1 8 0,-1 0-4 0,0 0-8 0,-1 2 8 0,-1 0 0 16,0 1 0-16,0 0 0 0,-1 0 0 0,0 1 0 0,0 0 0 0,-1-1-4 16,1 2 0-16,-1-1 0 0,0 1-4 0,0-1 0 0,-1-1 0 0,2 2 0 0,-1-2 0 15,-1 1 8-15,1-1-4 0,1-1-8 0,-1 0 8 0,1-1-8 0,0 0 4 16,0-1 0-16,1 0-8 0,0-1 0 0,0 0 0 0,1-2-16 0,-1 0-8 0,2-1-8 15,-2-1-8-15,2 0-8 0,-1-2-32 0,1 0-4 0,1-1 4 16,-2 0 12-16,2-1 8 0,0-2 8 0,0 1 8 0</inkml:trace>
  <inkml:trace contextRef="#ctx0" brushRef="#br0" timeOffset="115259.5924">16968 16751 23 0,'6'-6'36'0,"2"1"0"0,-3-1 0 16,2 2 0-16,0-1-8 0,-2 2 4 0,2 0 4 0,0 1-4 0,-3-1 0 0,2 2 0 16,-1 0 0-16,-1 0-4 0,2 1-4 0,-1 0 4 0,-1 1-4 0,0 0-4 15,0 2 0-15,0-1-4 0,0 0 8 0,1 1 4 0,-2 0-12 0,1 1 0 16,-1 0 0-16,2 0 0 0,-1 1 0 0,0-1-4 0,0 0-4 0,1 1 4 0,-1 0 4 15,0 0-4-15,0-1-8 0,-1 3-4 0,2-2 8 0,-2 0-4 0,0 1 0 16,1 0 4-16,-1-1 4 0,-1 0-8 0,1 1-4 0,-2-1 8 0,1 1-8 16,-1 0 8-16,0-1-8 0,-1 1 8 0,0-1-4 0,-1-1 4 0,0 2 0 0,-1-1-8 15,0 0 8-15,-1 0 0 0,1-1 0 0,-1 0 0 0,-2 1 4 0,2 0-8 16,0-1 8-16,0-1-4 0,-1 1-4 0,1-1 4 0,0 0-4 0,0 1 0 15,0-1-4-15,-1 0 4 0,2-1 0 0,0 0 0 0,0 0 0 0,1 1-4 16,0-2 4-16,1 1 0 0,1-2-8 0,1 1 12 0,0-1-8 0,1 0 0 0,1 0 0 16,0-1 0-16,2 1 4 0,0-2 0 0,-1 1-4 0,4-1-4 0,-2 0 4 15,1-1-4-15,0 1-4 0,1 0 0 0,0-1-8 0,0 0-4 0,-1 1-8 16,2-2-12-16,-1 0-4 0,-1 1-8 0,2-1-8 0,-2 1-16 0,-1-1-16 0,0-1-8 15,1 2 8-15,-1-1 12 0,-2 0 8 0,0 2 12 0,-1-3 4 0</inkml:trace>
  <inkml:trace contextRef="#ctx0" brushRef="#br0" timeOffset="115746.6203">16822 17104 39 0,'-13'2'52'0,"1"0"-8"0,-1-1-4 0,1-1-4 0,-2 0-4 0,3 0 0 0,-1-1-4 15,0-2 0-15,0 0-4 0,1 0-4 0,-1 0-4 0,2-2 0 0,-2 0 0 16,1-1 0-16,1 0 0 0,-1-1 0 0,1-1-4 0,0 1 4 0,-1-2-8 16,1-1 8-16,1 1-4 0,-1 0-4 0,1-2-4 0,0 0 8 0,0-2-8 0,2 1 4 15,0 0-4-15,0-2-4 0,-1-1 12 0,3 1-4 0,1-2-4 0,-1 0 0 16,1-2-8-16,2 1 12 0,0-2-4 0,1 1-4 0,1-1 0 0,2-1 8 0,0 0-12 15,1-1 8-15,2 1-4 0,1 1 8 0,1-3 0 0,1 2 0 16,2 1-12-16,3-1 8 0,-1 1 4 0,2 1-8 0,2-2 0 0,4 2-4 0,-2 1 4 16,4 0-4-16,0 1 12 0,2 1-4 0,1 0 0 0,1 2-12 0,1-1 16 0,1 4-4 15,1-1 0-15,0 2-4 0,1 2 0 0,-1 0 4 0,1 1-4 0,0 2 4 16,1 3-4-16,-1-1 4 0,-2 2-12 0,2 2 4 0,-1 1 0 0,-1-1 12 0,0 2-16 15,-1 2 12-15,0 0 0 0,-2 1-12 0,0 0 8 0,-3 3 8 16,0-1-4-16,-1 2-4 0,-3-1 0 0,0 2 4 0,-2 1 0 0,-1 1 0 0,-2-1-4 16,-1 1 12-16,-1 1-8 0,-2 1 0 0,0 0 8 0,-2 0 0 0,-2 2 4 15,-1-1 0-15,0 1 0 0,-2 0 4 0,0 0 0 0,-2 2 4 0,-2-1 0 0,1-1 0 16,-3 1 0-16,1 1-4 0,-2-1 0 0,-1 0 4 0,-2 1-4 0,0-2-4 15,-1 1 0-15,-1 0-4 0,-3-1 0 0,1 1 0 0,-2-1 0 0,0 0-4 16,-2 0 4-16,0-1-4 0,-2 0 0 0,0 0-4 0,-2-1 4 0,-1-1 0 16,0-1 0-16,0 0-4 0,-3 0 0 0,1-3 0 0,1 0 0 0,-2 0-4 0,-1-3 0 15,2 1 4-15,0-3-4 0,-1 0 0 0,0 0 0 0,0-2-4 0,2-3 0 16,-1 2 0-16,1-2 0 0,1-1-8 0,1-1 0 0,0 0-16 0,1-2 0 0,3-1-12 15,-2 1-12-15,4-3-8 0,0 0-4 0,2 0-20 0,1-1-20 16,1-1-12-16,3-1 12 0,0 0 12 0,3 0 8 0,1-1 8 0,1 0 8 0,2 0 8 16,0 0 8-16</inkml:trace>
  <inkml:trace contextRef="#ctx0" brushRef="#br0" timeOffset="116182.6453">18177 16222 35 0,'1'-13'68'0,"1"0"-4"0,-1 1-8 0,2 0 0 0,-1 0-16 16,-1 2 8-16,1 0-16 0,-1 0 0 0,1 2 0 0,-1-1-4 0,1 2 0 16,-1 1 0-16,1 1-4 0,0 1 4 0,1 1-8 0,-1 1 4 0,1 0 4 0,-2 2-8 15,4 0-4-15,-3 2 4 0,0 1-4 0,1 1-4 0,0 0 0 0,1 1 0 16,0 0 0-16,1 3 0 0,0-1-4 0,2 1 0 0,-1 2 0 0,0-3-4 0,1 1 4 15,1 1 0-15,0-1 4 0,0 1-4 0,0 0-8 0,1 0 0 16,-1-2 0-16,1 2 8 0,0-1-4 0,1-1-4 0,-2 0 0 0,0 0 0 0,2-1 4 16,-2-1-8-16,0 0 4 0,1 0 0 0,-1-2-4 0,-1 1 0 0,1-1-4 15,-2-1-4-15,2 0-8 0,-3 0-12 0,0-1-12 0,1 1-12 0,-2-2-12 0,-1 0-32 16,2 0-4-16,-3 0 12 0,1 0 12 0,-2 2 8 0,1-2 4 0,-2 0 8 15,0-2 8-15</inkml:trace>
  <inkml:trace contextRef="#ctx0" brushRef="#br0" timeOffset="116646.6718">18436 16412 15 0,'-1'0'52'0,"0"0"-4"0,0 1-8 0,-1 0 0 0,0 0-4 15,2 1-4-15,-4 0-4 0,3 1 0 0,-1 0 0 0,0 2-4 0,0-1 0 0,0 3 0 16,0-1 4-16,-1 1-8 0,2 2 4 0,-2 0-12 0,2 0 12 0,-2 1-12 15,1 1 4-15,0 2 4 0,-1-1-8 0,0 2 0 0,0 1-8 0,1 1 0 16,0-1 4-16,0 0 0 0,0 3 4 0,1-2-8 0,0 3 0 0,-1-2 4 16,1 1-4-16,1-1 4 0,-1 0 0 0,1 0-8 0,-1 0 0 0,1-1 4 0,1 0 0 15,-1-1 0-15,1-1 0 0,-1-1 8 0,1-1-8 0,1 0 0 0,0 0 0 16,-1-4 8-16,2 2-4 0,-1-3 4 0,1 0 0 0,1-2-4 0,0 0 8 0,-1-2-8 15,1-1 4-15,0 0 4 0,1-1-8 0,-1-3 4 0,1 1-8 16,1-2-4-16,-1-1 8 0,0 1-4 0,0-2-4 0,0 0 0 0,0-2 0 0,1 2 0 16,-2-3 8-16,1 1 0 0,-1 0 0 0,-1-2-8 0,1 1 8 0,-1 0-8 15,0-1 0-15,-1 1 12 0,1-2-8 0,-2 1-4 0,-1 0 4 0,0 0 4 0,-1 0-8 16,-2 1 0-16,1-1 4 0,0 1-4 0,-2 1 0 0,0-1 4 15,0 2-4-15,-1 1 4 0,-1-1 0 0,0 1-4 0,0 0-4 0,-1 1 4 0,2 1 0 16,-2 1 0-16,-1-1 0 0,1 2 0 0,1-1-4 0,0 2 4 0,-2 0 4 16,3 0-4-16,-1 0 0 0,1 0-8 0,0 2 4 0,1-1-8 0,-1 1-8 0,2 0-4 15,1 1-4-15,1-2-8 0,0 2-12 0,1-1-4 0,1 0-16 0,1 1-24 16,-1-2-8-16,4 1 0 0,-1 0 16 0,1-2 12 0,0 0 8 0,3 0 4 0</inkml:trace>
  <inkml:trace contextRef="#ctx0" brushRef="#br0" timeOffset="117010.6926">18570 16670 27 0,'17'-5'40'0,"-2"-1"-4"0,2 1-4 0,-2-1 0 0,1 2-8 15,-1 0 0-15,1-1-4 0,-2 1 0 0,2 1 0 0,-2 0-4 0,1 0 0 0,-2 1 0 16,0 1-4-16,0 1 0 0,-2 0 0 0,2 1-4 0,-3 1 0 0,-1 0 0 15,1 1-4-15,-1 1 0 0,-1 0 0 0,-1 1 0 0,1 0 4 0,-2 1-4 16,0 0 0-16,0 1 0 0,-1-1 4 0,1 1-4 0,-2 1-4 0,1-1 4 16,-1 0-4-16,0 0 4 0,-1 0 0 0,0 2 4 0,0-3-8 0,0 2 0 0,0-1 0 15,-2-1 4-15,0 1-4 0,0 0 4 0,-1-1-4 0,0 0 4 0,-1-1 0 16,0 2 0-16,0-2-4 0,-2 0 4 0,-1 0-4 0,1-2 0 0,-1 1 0 0,-1 0 4 15,1 0 4-15,-1-2 0 0,0-1 0 0,-2 2 0 0,0-2 0 16,2-1 0-16,-1 0 0 0,-1 0 0 0,1 0 4 0,-1-2-4 0,1 0 0 0,1-1 4 16,1-1-4-16,-2 0 0 0,2-3-4 0,0 2 4 0,1-2-12 0,1-2 12 15,1 1-4-15,-1-2 4 0,2-1-4 0,0 0-8 0,1-1 12 0,1 0-8 0,0-1 4 16,1 0 4-16,1-1-12 0,0-1 12 0,1 1-12 0,0 1 4 0,0-2 0 15,-1 0 8-15,2 1 0 0,-1 0-4 0,2 0 8 0,-2 0 4 0,0 2 0 16,0-2 8-16,0 3-4 0,-2-1-4 0,0 2 4 0,1-1-8 0,-2 1-4 0,0 2 4 16,-2 1 4-16,0 0-4 0,-2 1-4 0,0 1-4 0,-3 1 0 0,1 1 4 15,-1 1-4-15,-1 0 4 0,-2 2-8 0,0 0 0 0,-1 2 4 0,0 0 0 0,-2 0 0 16,0 0 4-16,1 2 0 0,-3-1-4 0,2 1-4 0,-1 1-8 0,0 0 8 15,0-1 4-15,-1 1-8 0,2 1-4 0,-1-1-4 0,0 0-4 0,1 2-8 16,0-2 4-16,1 0-12 0,0 0-4 0,1 1-8 0,0-2 0 0,1 2-4 16,1-3-8-16,1 2-20 0,-1 0-12 0,2-1 0 0,1-1 8 0,1 0 12 0,1 0 4 15,-1-1 8-15</inkml:trace>
  <inkml:trace contextRef="#ctx0" brushRef="#br0" timeOffset="117534.7226">18335 17017 7 0,'-12'3'36'0,"1"-1"-4"16,0-1 0-16,1 0-8 0,0-1 4 0,0-1 0 0,1 0-12 0,0-2 8 15,1 0 0-15,0-1-4 0,-1-2 4 0,2 1 0 0,0-2-4 0,-1-1-4 0,1 0 4 16,2-2 0-16,-1 0 4 0,-1-1 0 0,3-1-4 0,1-1-4 0,0-1 12 15,0-2-8-15,2-1 0 0,1-1 4 0,0-2 0 0,2 0 0 0,2-2 0 16,0-1-4-16,4-1-4 0,-1-1 4 0,3-2 0 0,2 0-4 0,1-1 0 0,1 0-4 16,4-2 0-16,2 1 4 0,1 0-4 0,3 0 0 0,1 0-8 0,3 2 4 15,2-1 0-15,1 0-4 0,2 2 4 0,1 2-8 0,2 0 4 0,0 1 0 16,1 3-4-16,0 0 0 0,0 2 0 0,0 2 0 0,0 2 0 0,1 1 0 15,-2 3 0-15,0 3 0 0,-2 0 0 0,0 4 4 0,-2 1-4 0,0 2 0 0,-2 3 4 16,-1 2-4-16,-2 2 4 0,-1 0 0 0,-2 2 4 0,-3 2 0 0,-1 1-8 16,-2 2 8-16,-3 1-8 0,-1 0 4 0,-2 0-4 0,-2 2 4 0,-2 1 0 15,0 0 4-15,-3 0 0 0,-1 2-8 0,-2-1 4 0,0 1 4 0,-1 0 0 0,-2 0-4 16,-1 1 4-16,0-2 0 0,-1 2 0 0,-2 0 0 0,1-1-4 0,-3 0 4 15,0 0 0-15,0 0-4 0,-1 1 0 0,-2-1 0 0,1-1 0 0,-2-1-4 16,-1 1 4-16,-1 1-4 0,-1-2 4 0,0 0-4 0,-2 0 4 0,0-1-4 0,-2-1 0 16,1 0 0-16,-3-1 0 0,-1 0-4 0,1 0 4 0,-2-2 0 0,-1 0 0 15,1-1-4-15,-2 0 4 0,-1-2-4 0,1 0 0 0,-1-1 0 0,1-1 0 0,-2-1-8 16,0 0 0-16,0-2-4 0,1-1-8 0,0 0-4 0,0-1-8 15,0-1 0-15,0-2-8 0,1 0-8 0,2 0-4 0,-1-3-24 0,1 0-20 0,0-1-4 16,3-2 12-16,0 2 12 0,1-3 8 0,2-1 8 0,1-1 4 0</inkml:trace>
  <inkml:trace contextRef="#ctx0" brushRef="#br0" timeOffset="119353.8267">15833 14711 15 0,'-7'-3'32'0,"2"0"-4"15,-2 2 0-15,-1-1 0 0,1 0 4 0,1 0-4 0,-2 0 0 0,1 0-4 16,-1 1 0-16,1-2 0 0,0 1 0 0,-2 0 0 0,2-1-4 0,-1 1 0 0,1 0 8 16,-1-1 4-16,3 2-4 0,-1-1 8 0,0-1-12 0,1 2 4 0,0-2 0 15,0 2-4-15,0 0 8 0,1-1-8 0,1 1-4 0,0-1-4 0,-1 1 8 0,2 0-8 16,0 0 0-16,1 0-4 0,-1 0 0 0,1 1 0 0,1 0 0 15,1 0 4-15,1 0 0 0,0 0 4 0,1 1 0 0,2 0-4 0,0 1 0 0,0-1 4 16,4 1 0-16,-1 1 0 0,1-1-8 0,1 2 4 0,3-1 0 0,0 1 4 16,2 0-4-16,1 1 4 0,1-2-4 0,1 1 4 0,2 1-4 0,0-1 0 0,1 1 0 15,1 1 0-15,2-3-4 0,0 3 4 0,-1-1 4 0,3 0-8 0,-2 0 8 16,3 0-8-16,-2 0 4 0,1 0 0 0,-2 0 0 0,2-1-8 0,0 0 8 15,-2 0 0-15,0 0-4 0,-2-1 0 0,2 0 0 0,-2 1 0 0,-1-1 0 16,-3-1 8-16,1 0-4 0,-2 1-4 0,-4076-2 0 0,8148 0 0 0,-4075 1 4 0,-2-1-4 16,-2-1 4-16,0 2-8 0,-1-1 8 0,-1-1-4 0,-1 0 4 0,-1 1 0 15,-1-1 0-15,0 2-4 0,-2-2 0 0,0 0-4 0,-1 0 4 0,-1 0-4 0,0-2 0 16,-1 2-4-16,0-1 0 0,-2 1-4 0,1-1 0 0,-2-1-4 15,0 2 0-15,0-2-8 0,-1 1-8 0,0-1-8 0,0 0 0 0,-2 0-8 0,1-1-12 16,-1 1-8-16,2-1-8 0,-2 1-16 0,0-1-4 0,-1 0-12 0,2-1-4 16,0 1-24-16,-1 1-16 0,0-1 12 0,0-1 12 0,1 1 16 0,1-1 8 0,-1 0 12 15,1 1 8-15,2-1 8 0,-1 2 8 0</inkml:trace>
  <inkml:trace contextRef="#ctx0" brushRef="#br0" timeOffset="119810.8528">16840 14197 55 0,'-4'-11'56'0,"0"-2"4"0,1 1-12 0,-1-1 4 16,1 2 0-16,0 0-8 0,1 0-8 0,-1 0 4 0,1 2-8 0,-1-2 4 16,2 2-4-16,-1 2-4 0,0-3 0 0,2 3 0 0,0 1 0 0,0-1 0 0,1 2 0 15,0 0-4-15,1 1 0 0,-1 1 4 0,2 1-4 0,0 1 0 0,0 1 0 16,1 0 0-16,2 1-4 0,-2 1 0 0,2 2-4 0,-1 1 0 0,1 1 0 15,0-2 0-15,0 3-4 0,0 0 0 0,1 0-4 0,-2 0 0 0,1 1 4 16,2 0-4-16,-3 1 0 0,1 0 0 0,-1 0 0 0,1 1-4 0,0-1 4 0,-2 1 0 16,0 1-4-16,-1-1 4 0,0 1-8 0,-1-1 4 0,-1 1-4 0,0-1 0 15,-1 0 0-15,-1 1 4 0,-1-1 0 0,1 1 0 0,-3 0-4 0,1-1 0 0,-1 0 4 16,0 0 0-16,-2 0-4 0,1 0 4 0,0-1-4 0,-1 1 4 0,1-2-4 15,-2 0 4-15,1 1-4 0,0-2 0 0,1 0 0 0,0 0 0 0,-2 0 0 16,3-2 0-16,-1 1 0 0,2-1 4 0,0-1 0 0,1-1-4 0,0 0 4 16,1 0 0-16,2-2-4 0,1 0 4 0,0 0 0 0,2-1-4 0,1-1 4 0,0 0 0 15,3-1-4-15,-1-1 0 0,1 1 0 0,2-1 0 0,-1-1 0 0,2 1 4 16,1 0 0-16,-1-1-4 0,1 1 0 0,0-2 0 0,0 1 0 0,2 0-8 15,-1 0 0-15,-1 0-4 0,1 1-16 0,0-2-8 0,-1 1-8 0,0 1-8 0,-2 0-12 16,2 0-8-16,-3 0-12 0,0 1-28 0,0-1-8 0,-2 0 12 0,1 0 16 16,-2 1 12-16,-1 0 4 0,2 0 12 0,-3 1 8 0,0-2 8 0</inkml:trace>
  <inkml:trace contextRef="#ctx0" brushRef="#br0" timeOffset="120259.8785">17270 14023 15 0,'4'-7'56'0,"0"0"-4"0,0 1-8 16,0 1-4-16,1 1 4 0,-1 0 0 0,0 1-8 0,0 2 4 15,0-2-12-15,1 2 8 0,-1 1 4 0,1 0-8 0,-1 0 0 0,1 1 0 0,0 0 4 16,-1 1-8-16,1 1-4 0,0-1 0 0,1 1-4 0,-2-1 4 0,1 2 0 16,0-1 0-16,0 2-4 0,0-1-4 0,1 0-4 0,0 1 4 0,-1 0-4 0,1 1 0 15,0-1 0-15,0 1 0 0,-1-1 4 0,1 1-8 0,-1-1 4 0,-1 1-4 16,1-1 0-16,0 0 0 0,-1 2 0 0,-1-3 0 0,1 1 0 0,-1 1 0 15,-1-1-4-15,-1 0 4 0,1 1 0 0,-2-1-4 0,0 0 0 0,-1 0 0 16,-1 0 0-16,1 0 0 0,-3 0 4 0,1 0-8 0,0-1 4 0,-2 1 0 0,-1 1 0 16,1-1 0-16,-1-2 0 0,0 2 0 0,0-1 0 0,-1 2 0 0,0-3 0 15,0 1 0-15,1 1 4 0,-2-1-4 0,2 1 0 0,-1-2 0 0,1 1 4 0,1 0-4 16,0-1 0-16,-1 1 0 0,1 0 0 0,2-1 0 0,-1 1 4 0,3-1-4 15,-1-1 0-15,1 1 0 0,2 0 0 0,0 0 4 0,1-1 0 0,1 0-4 16,0 1 4-16,2-1 0 0,2 0 0 0,-1 0-4 0,0 0 4 0,2-1 0 0,0 2 0 16,2-1 0-16,-1 0 0 0,1 0 4 0,0 0 0 0,0 0 0 0,0-1 8 15,2 2 0-15,-2 0 0 0,0-1-8 0,2 0 4 0,-2 1 4 0,-1-1-4 16,2 0 0-16,-3 1 4 0,1-1-4 0,0 1 8 0,-2 0 0 0,0 1 0 15,-1-1 4-15,-2 1 0 0,2 1-8 0,-3-1 4 0,-2 2-4 0,1-1-4 0,-2 1 0 16,-1 0 4-16,-1 0-4 0,-1 1-4 0,-2 0 0 0,1 1-4 0,-2-1 0 16,0 1 0-16,-1-1-4 0,-3 1 4 0,2 1-8 0,-2-2 4 0,-1 1-4 0,2 0-4 15,-2-1 4-15,-1 0-8 0,1 1-4 0,-1-1-12 0,0 0-4 0,0-2-20 16,0 0-16-16,0 1-12 0,0-2-24 0,0 0-4 0,0-2-16 0,2 0-32 15,-1 0-4-15,1-2 12 0,0 0 20 0,1 0 12 0,2-2 8 0,-1 0 16 16,2 0 4-16,0-1 12 0,1 0 8 0,1 0 8 0</inkml:trace>
  <inkml:trace contextRef="#ctx0" brushRef="#br0" timeOffset="121109.9271">17001 15581 15 0,'-5'-3'36'0,"1"1"0"16,0 0 4-16,0 1-4 0,-2-2-4 0,2 1 4 0,0 0 0 0,0 0-4 15,0 0 0-15,0 1-4 0,0-2-4 0,-1 1 4 0,2 0-4 0,0 0-4 0,0 1-4 16,0-1 0-16,1 0 4 0,2 0-4 0,0 1-4 0,0 0 0 15,3 0 8-15,-1 0-4 0,3-1-8 0,2 2 8 0,0-1-4 0,2 1 4 0,0-1 4 16,4 1 0-16,-1 0 0 0,3 0-4 0,0 0 4 0,1-1-4 0,2 1 0 16,1 0-4-16,-1 0 8 0,3-2-8 0,1 2 0 0,0-1 0 0,0 0 4 0,1 1-4 15,1-1 0-15,1 0 0 0,-1 0 0 0,1-1-4 0,0 2 0 0,0-1 0 16,-1 0 0-16,0 0 0 0,-1-1 4 0,0 2-4 0,0-2 0 0,-4 1 0 15,2 1 0-15,-2-3 0 0,-2 3-4 0,0-1 0 0,-2 1 0 0,-1-1 0 16,0 0 0-16,-3 0 4 0,2 1 0 0,-4 0 0 0,0 0-4 0,0-1 0 0,-3 1 0 16,0 1 0-16,-1-1 0 0,-1 0 0 0,0 1-4 0,-1 0 0 0,-2 0 0 15,-1 0-4-15,0-1 0 0,0 2-8 0,-2-1-8 0,-2 0-12 0,2 1-20 0,-1-2-8 16,-1 0-12-16,0 1-20 0,-1-1-28 0,0 0 8 0,0 0 12 0,-1-1 12 15,1 1 12-15,-1-2 4 0,1 1 8 0,-1-2 12 0</inkml:trace>
  <inkml:trace contextRef="#ctx0" brushRef="#br0" timeOffset="123014.036">18052 14887 47 0,'1'-6'60'15,"0"1"-4"-15,-1 0-8 0,1 0-4 0,0 3-4 0,-1 0 4 0,0 0-12 0,0 2 0 16,-1 2 0-16,0 0 0 0,0 3 0 0,-1 0 0 0,0 1-12 0,0 1 4 16,0 3 4-16,-2 1-8 0,1 0 0 0,0 1 0 0,-1 2-4 0,-1 1 4 0,0 0-4 15,1 2 0-15,-1 0-4 0,1 2 0 0,-1 0-4 0,0 0 4 0,0 2-4 16,0 0 0-16,1 0 4 0,0 0-8 0,0 0 0 0,1 1-4 0,0 0 8 15,-2-1-4-15,3-2 0 0,-1 2-4 0,2-3 4 0,0 1-4 0,0-2 0 16,1-1 4-16,1 0-4 0,0-3 4 0,1 0 0 0,1-1 0 0,0-1 0 0,1-3 0 16,0 0-4-16,1-1 8 0,0-2-8 0,1-1 4 0,1-1-4 0,0-1 4 15,0-2 4-15,-1-1-8 0,2-1 8 0,0-2-8 0,-1 0 0 0,1 0 0 0,-2-3 4 16,3 1-4-16,-3-2 4 0,0 2-4 0,0-3 4 0,-1 1 4 15,1 0-8-15,-1-1 4 0,-2-1-4 0,2 0 0 0,-3 1 4 0,0-1 0 0,-1 0 0 16,0 0 4-16,-1 1-4 0,-2-1 0 0,1 0-4 0,-2 2 0 0,-1-2 0 16,0 3 0-16,-1-2 0 0,-2 3 4 0,0-2-4 0,0 2 4 0,-1 1-4 0,-2-1 0 15,2 2 0-15,-2 0-4 0,0 1 8 0,1 0-4 0,-1 0 0 0,-1 2 0 16,1 0-4-16,0 1 4 0,-1-1 0 0,2 2-4 0,0-1 4 0,0 1-4 15,-1 0 0-15,2 2-4 0,1-1 0 0,0 0-8 0,0 1-8 0,1 0 0 16,1 0 4-16,1 1-12 0,0-1-8 0,1 1-8 0,2 0 0 0,0 0-12 0,-1-2-8 16,4 3-12-16,0-4-12 0,1 2 8 0,1-1 8 0,1 0 12 0,1-2 4 15,1 2 12-15</inkml:trace>
  <inkml:trace contextRef="#ctx0" brushRef="#br0" timeOffset="123424.0595">18099 15201 3 0,'16'-6'36'0,"0"-1"-4"0,0 2 0 16,0-2-4-16,0 1-4 0,0 1 0 0,-1-1 0 0,1 1-4 0,-1 1 4 16,0 0-4-16,-2 1-4 0,2-1 4 0,-2 2-4 0,0 2 0 0,-2-1 0 0,1 1-4 15,0 1 0-15,-2 0 0 0,0 2 0 0,1 0 0 0,-1 0 0 0,-1 1 0 16,1 2-4-16,-2-1 0 0,0-1 4 0,1 3-4 0,-1-1 0 0,-1 2 0 15,0-1 0-15,2 0-4 0,-3 1 4 0,1-1-4 0,-1 2 0 0,-1-1 4 16,1 0 0-16,-1 1-4 0,-1 0 0 0,0-2 4 0,-1 3 4 0,-1-2-8 0,1 1 0 16,-2-1 0-16,0 1 4 0,-1-1-4 0,0 0 0 0,-1 0 0 0,0 0 0 15,-1-1 4-15,0-1-8 0,-2 1 0 0,1-1 0 0,-1 0 4 0,0-1 4 0,-1 0-8 16,0-1 0-16,0 0 4 0,0 0-4 0,0-1 0 0,-1-1 0 0,0 1 8 15,1-3 0-15,0 1 0 0,0-1 0 0,0-1 0 0,0-1 0 0,0 1-8 16,2-3 12-16,-1 0-4 0,1-1 0 0,1 0 4 0,0-1 0 0,0-2 0 0,2 1-8 16,0-3-4-16,0 1-8 0,1-1 12 0,1-1 0 0,0 0 4 0,2-2-4 15,-1-1 4-15,1 1 4 0,1-1 0 0,1-1 4 0,0-1-4 0,-1 0 4 0,2 0 0 16,0-1 4-16,0-1-4 0,0 2 4 0,0-2 4 0,1 2 0 15,-1-2 0-15,0 2 0 0,0-1 4 0,-2 0 0 0,2 0 0 0,-1 1-4 0,0 0 0 16,-2 1 0-16,0 1 4 0,-1-1-4 0,0 1-4 0,0 1-4 0,-1 1 0 16,-2 0 0-16,0 1 0 0,-2 0-4 0,-1 1-4 0,0 2-4 0,-1 1 4 0,-1-1 0 15,-1 2 0-15,-1 1 0 0,-1 1-4 0,-1 0 0 0,0 1-4 0,-1 2 0 16,0 1 0-16,-1 1 0 0,-1 0 4 0,0 1-4 0,0 2 0 0,-1 0 4 15,0 2-4-15,0 0 0 0,1-1 0 0,-1 2-4 0,0 2 0 0,1-1 0 16,-1 1 0-16,3-1-4 0,-1 3-4 0,-1-2-12 0,3 1-8 0,0 1-8 0,-1-2-8 16,3 2-4-16,1-1-8 0,0 0-8 0,1 0-4 0,0-1-4 0,2 0-32 15,0 0-16-15,1-1 8 0,2-2 16 0,0 2 8 0,2-3 16 0,0 0 4 0,0 0 8 16,1-1 4-16</inkml:trace>
  <inkml:trace contextRef="#ctx0" brushRef="#br0" timeOffset="124203.104">18572 16609 27 0,'-11'-4'44'0,"0"1"-4"16,2-1-4-16,-1 0 0 0,1 0 0 0,-1 1 0 0,2 0 4 0,-1-1-4 0,1 0-4 16,1 1 0-16,0-1-4 0,1 1-4 0,1-1-8 0,0-1 8 0,2 2-4 15,0-2 4-15,1 1-12 0,1 0 0 0,1 0 4 0,2-1 4 0,0 0-12 0,2 1 4 16,2 1 0-16,1-1 4 0,1 0 0 0,1 0-8 0,4 1 4 15,-1-1 4-15,3 2-4 0,0-2-4 0,2 0 0 0,0 1 0 0,3-1 4 0,1 1-4 16,-1 0-4-16,2 0 8 0,2 0-4 0,0-1 0 0,-2 0 0 0,3 1 0 16,0 0 0-16,0 0 0 0,-2 0 0 0,2 0 0 0,0 1 0 0,0 0 0 0,-1 0-4 15,-1 0 0-15,0 1 0 0,-1-2 4 0,0 2-4 0,-3-1 4 0,1 2 0 16,-3-1 0-16,1 0 4 0,-4 0-4 0,1 1 0 0,-2-1-4 0,-2 0 4 15,0 1 4-15,-3 0-4 0,0 0 0 0,-1-2 0 0,-1 2-4 0,-2 0 0 16,-1 0-4-16,0 0 4 0,-3 2 0 0,1-2 0 0,-1 0-4 0,-1 0-4 0,0 0 0 16,-2 1-12-16,0-1-20 0,-1 0-4 0,0 0-12 0,-1-1-12 0,-2 1-24 15,1-2-28-15,-1 1 8 0,0-1 12 0,0 1 12 0,-1 0 8 0,0-2 8 0,1 1 8 16,-1-1 8-16</inkml:trace>
  <inkml:trace contextRef="#ctx0" brushRef="#br0" timeOffset="124900.1439">19696 16393 19 0,'-17'-2'60'0,"1"-1"0"0,-1 3-4 0,1-1-8 0,0 0 0 15,2-1 0-15,-1 2-16 0,2 0 0 0,-1 0 0 0,2-1 4 0,-1 1-16 0,3 0 4 16,-1 0-12-16,0 0 12 0,3 0-12 0,0-1 0 0,1 1 0 16,1-1 4-16,1 0-4 0,1 1-8 0,2-1 12 0,1 0-4 0,1 1-4 0,2-1 0 15,-1 1 0-15,3-2 0 0,1 2 0 0,0 0 0 0,1 0-4 0,-1 0 4 16,2-2-4-16,0 2 4 0,2 0-8 0,-1 0 0 0,0-1 8 0,1 1-12 0,1 0 12 15,-1 0-8-15,1 0 4 0,1 0 0 0,-2 0 0 0,1 0 4 0,2 1-8 16,-2 1 8-16,0-2-8 0,0 2 8 0,-1 1 0 0,1 0 4 0,-1 0 0 16,0 1-4-16,-1 1 0 0,-2 0 0 0,2 1 0 0,-2 2-4 0,-1 0 8 0,0 0-4 15,-1 2 0-15,-1-1 4 0,-1 3 0 0,1-1-4 0,-2 1 0 0,0 1 0 16,-2 0 0-16,0 0-4 0,0 2 4 0,-1-1-8 0,0 2 4 0,-1-1-4 15,1 0 4-15,0 0-4 0,-2 1 4 0,2 0-4 0,-2-1 0 0,2 0-4 0,-1 0 0 16,-1-1 8-16,1 1 0 0,1-1-4 0,-1-2 0 0,1 0 0 0,1 0 0 16,-1-1 0-16,1-1 0 0,0-1 0 0,1-1 0 0,-1 0 0 0,2-1 0 15,-1 0 0-15,1-2-8 0,0-1 8 0,1-1-8 0,-1 0-4 0,1 0-4 0,1-2-8 16,-1-1-12-16,1 0-8 0,0-2-12 0,0 0-12 0,0-1-12 0,-1-1-28 15,1 1 8-15,-1-2 12 0,1-1 12 0,0 1 8 0,-1-2 4 0,1 0 12 16</inkml:trace>
  <inkml:trace contextRef="#ctx0" brushRef="#br0" timeOffset="125246.1637">20043 16263 7 0,'5'-6'64'0,"0"1"-4"0,0-1-4 0,0 1-12 16,0 1 0-16,-1 0-8 0,1 1-4 0,-1 2 0 0,0-1-8 0,-1 1 0 16,1 1 0-16,0 1-4 0,-2 2-4 0,1-2 0 0,-2 4 0 0,1-1 0 0,-1 1 0 15,-1 0 0-15,1 2-8 0,-1 0 0 0,0 1-4 0,0 0 12 0,-1 2 0 16,1 1-4-16,-1 0 0 0,0 1-4 0,0 1 4 0,0 1-8 0,0 0 4 0,0 1 8 15,-1 0-8-15,1 2 0 0,-2 0 0 0,0-1 0 0,2 1 0 16,-2 0 0-16,1 0-8 0,-1 0 8 0,1 0-4 0,0 0 0 0,0 0 0 0,-1 0 4 16,1-1-4-16,0 0-8 0,1 0 4 0,-2-2 8 0,2 1-8 0,0-1 0 15,-3 0 0-15,4-1 8 0,-1-1-8 0,0 0-4 0,-1-2 8 0,1 1-4 0,1-3 0 16,0 1 4-16,-1-1-4 0,1-2 4 0,-1 1-4 0,1-2 0 0,0 0 0 15,1-2-4-15,-1 0 4 0,1-1 0 0,-1-1 0 0,1-1 0 0,-1-1-12 16,1 0 0-16,0-1-16 0,-1-2-12 0,1 1-12 0,-1-1-20 0,0-2-28 0,1 1 4 16,-1-1 12-16,0-1 8 0,0 0 4 0,0 0 12 0,-2-1 4 0</inkml:trace>
</inkml:ink>
</file>

<file path=ppt/ink/ink5.xml><?xml version="1.0" encoding="utf-8"?>
<inkml:ink xmlns:inkml="http://www.w3.org/2003/InkML">
  <inkml:definitions>
    <inkml:context xml:id="ctx0">
      <inkml:inkSource xml:id="inkSrc0">
        <inkml:traceFormat>
          <inkml:channel name="X" type="integer" max="32767" units="in"/>
          <inkml:channel name="Y" type="integer" max="32767" units="in"/>
          <inkml:channel name="F" type="integer" max="2047" units="in"/>
          <inkml:channel name="T" type="integer" max="2.14748E9" units="dev"/>
        </inkml:traceFormat>
        <inkml:channelProperties>
          <inkml:channelProperty channel="X" name="resolution" value="15999.51074" units="1/in"/>
          <inkml:channelProperty channel="Y" name="resolution" value="15999.51074" units="1/in"/>
          <inkml:channelProperty channel="F" name="resolution" value="999.51166" units="1/in"/>
          <inkml:channelProperty channel="T" name="resolution" value="1" units="1/dev"/>
        </inkml:channelProperties>
      </inkml:inkSource>
      <inkml:timestamp xml:id="ts0" timeString="2017-11-05T07:08:44.801"/>
    </inkml:context>
    <inkml:brush xml:id="br0">
      <inkml:brushProperty name="width" value="0.05292" units="cm"/>
      <inkml:brushProperty name="height" value="0.05292" units="cm"/>
      <inkml:brushProperty name="color" value="#FF0000"/>
    </inkml:brush>
  </inkml:definitions>
  <inkml:trace contextRef="#ctx0" brushRef="#br0">3713 3941 15 0,'1'-4'48'0,"0"1"-4"0,1-1 0 0,-2-1 0 0,0 1-4 15,0 0 0-15,0 0 4 0,0 0 4 0,-1 1-4 0,1 0-4 0,-2-1 8 0,1 1 0 16,1 0 0-16,-2-1-4 0,0 2 4 0,1-1 0 0,-2 0-4 0,1-1 0 16,0 1 0-16,0 1 0 0,1-1-4 0,-2 1 0 0,2-1-4 0,-1 1 0 0,-1-1 4 15,2 1-4-15,-1 0 0 0,1-1 0 0,0 1-16 0,-1 1 4 0,0-2-4 16,2 2 12-16,-1-1-8 0,0 1-4 0,-2-1 0 0,3 1-8 0,0 0 4 15,-1 0-4-15,1-1 8 0,-1 2-8 0,0-1 4 0,1 1-12 0,0 0-4 16,-1-2 12-16,1 2-8 0,0 0 4 0,0 0-8 0,-1-1 12 0,1 0-8 0,0 1 0 16,0 0 0-16,0-1 0 0,0 1 0 0,0-1-4 0,0 0 0 0,-1-1-4 15,0 2 4-15,1-1 0 0,-1 0-4 0,0-1 12 0,1 0-4 0,-2 1-8 0,1 0 4 16,-1-2 0-16,1 2-4 0,-1-1 4 0,0 0 4 0,1-1-8 15,-2 0 4-15,2 1 8 0,-1-1 0 0,0 1-8 0,-1-1-4 0,1 1 4 0,0-1 8 16,0 0-8-16,0 2 0 0,0-2-4 0,0 0 4 0,0 0 4 0,0 1-4 16,0-1 0-16,0 1-4 0,1 0 12 0,-1-1-8 0,0 1 0 0,1 0 0 0,-1-1-4 15,0 1 4-15,0-1 0 0,1 1 0 0,-1-1 8 0,2 3 0 0,-2-3-8 16,1 2 0-16,0-2 4 0,0 2-4 0,0-1 0 0,0 0 0 0,0 0-4 15,0 0 8-15,1 1 0 0,-1-1 4 0,0 0-8 0,0 0-4 0,0 0 8 0,1 0 0 16,0 1 0-16,-1 0 0 0,0-2 0 0,0 2-4 0,0 0 4 0,0-1 0 16,1-1 0-16,-1 2 0 0,0-1-4 0,-1 0 0 0,1 0 4 0,0 0 0 15,-2 0 0-15,1 0-8 0,0 0 8 0,0-1 0 0,-1 1 0 0,0 0 0 0,0 1 8 16,-1-1-12-16,0 0 4 0,-1 1 0 0,-1-1 0 0,2 1 4 0,-2 0-4 15,-1 1 0-15,1 1-4 0,-3 0 0 0,2 1 4 0,-1 1 0 0,-2 0 0 16,1 0-4-16,-1 2 0 0,0 1 0 0,-2 0 4 0,2 2-8 0,-3-1 8 0,2 3-4 16,-1-1 4-16,1 1 0 0,-2 2-4 0,3-2 4 0,-3 3-4 0,2-1 0 15,-1 1 0-15,2-1 0 0,0 2 4 0,-1-1-4 0,2 1 0 0,0-2 0 0,1 2 0 16,-1-1 0-16,2 0-4 0,0-1 8 0,2 0-4 0,-1 0 0 15,2-1 4-15,0-2 0 0,2 1-4 0,0-2 4 0,2 0 0 0,1-2 0 0,2-1-4 16,0 0 0-16,2-3 0 0,1 0-4 0,1-1 0 0,1-1-4 0,2-1 4 16,1-2 8-16,0 0-8 0,1-1-4 0,0 0 4 0,1-2 0 0,1 2 4 0,-1-1-4 15,2-2 4-15,-2 1 0 0,1 0-4 0,0 0 0 0,-1 1 0 0,1-2 4 16,-1 2 0-16,1-1 0 0,-1 1 0 0,0 1 0 0,-2-1 4 0,1 1 4 15,-1 1-4-15,-1 2 0 0,-1 0-4 0,1 1 4 0,-2 1 0 0,-3 1 4 16,1 2-4-16,-1 0 0 0,-1 3 0 0,0-2 0 0,-2 2 0 0,0 3 0 0,-1-2-4 16,0 3 4-16,-1 0 0 0,1-1 0 0,-1 3 0 0,0-1-4 0,0 1 0 15,-1-1 4-15,1 1 0 0,0 0-4 0,-1 0 0 0,1 0 4 0,0 0 0 0,0-1-4 16,1 0 0-16,-1-1 0 0,0 2 0 0,1-2 0 0,0 0 0 15,0-1-4-15,-1-1 4 0,1 0-4 0,1-1 4 0,-1 0-8 0,0-1-8 0,0 0 4 16,1-1-8-16,-1-1 4 0,-1 1-16 0,2-3 0 0,-1 1-12 0,0-1-12 16,0-1-12-16,-1 1-12 0,2-2-12 0,-1 0-4 0,0 0-8 0,0-1-12 0,-1-1-16 15,0 0-8-15,1 0 12 0,-1-1 16 0,1 0 12 0,-1-1 16 0,0 0 8 16,0-1 8-16,0 2 8 0</inkml:trace>
  <inkml:trace contextRef="#ctx0" brushRef="#br0" timeOffset="620.0355">4194 3501 51 0,'14'-15'52'0,"-3"1"-4"0,3 1-4 0,-3-1-4 16,0 3 4-16,1 0-4 0,-1 0-4 0,-1 2 8 0,1 0-4 0,-2 2 0 15,0 1 0-15,0 1 4 0,-1 1 0 0,-2 2 8 0,1 1-4 0,-1 2 4 0,0 1-4 16,-1 1 4-16,-2 2 4 0,0 1 0 0,0 2-12 0,-2 1 12 0,0 1-4 16,0 2-4-16,-1 0-8 0,-1 2-4 0,0 2-4 0,-1 1-8 0,-1 0 8 0,0 1-8 15,-1 2-4-15,-2 1 4 0,-1 0-4 0,1 2-4 0,-2 0-4 0,1 1 0 16,-3 0-4-16,1 1 0 0,-1 1 0 0,-1-1-4 0,1 2 0 0,0-2 0 15,-3 2 0-15,3-1 0 0,-1-1 0 0,0 1 4 0,0-2-8 0,0 0 0 16,0 0 0-16,2-1 4 0,-1-3-4 0,0 1 0 0,2-2-4 0,-1-1 4 0,0 0-4 16,3-2 8-16,-1-1-16 0,1-1 4 0,1-1 8 0,-1-1-4 0,2-1 0 15,2-3-4-15,-1 1 4 0,3-2 0 0,-1-2 4 0,2-1-8 0,0-2-8 0,1 0 0 16,1-4 0-16,1 1-4 0,2-3-4 0,0-2-4 0,0 1 4 15,1-2 0-15,1-2 8 0,1 1 0 0,0-2 0 0,0 1 8 0,2-1 0 0,-1-1 0 16,2 1 0-16,-1 0 8 0,1-1 0 0,1 0 0 0,-1 1-4 0,1 1 4 16,1-1 4-16,-1 0 0 0,1 1 0 0,0 2 4 0,0-1 0 0,-1 1 4 0,1 1 0 15,-2 1 0-15,1 1 0 0,0 2 0 0,-2 1 8 0,1 2-4 0,-2 0-4 16,0 2 12-16,1 1-8 0,-3 1 4 0,1 1-4 0,-2 1 4 0,1 1-4 15,-2 1 0-15,1-1 0 0,-2 2 0 0,0-1 0 0,1 3 4 0,-3-3-4 0,0 2 0 16,0 1 0-16,-2-1 4 0,1 0 0 0,-1 1 0 0,-2-1 0 0,0 1 0 16,-1-1 0-16,-1 1-4 0,-1 0 4 0,-2 0-4 0,0-1 4 0,0 0-4 0,-2 1 0 15,-2-1-4-15,1 1 0 0,-1-1 0 0,-3 0-4 0,1-1-4 0,-1 0 4 16,-2 0 0-16,1-1-4 0,-2 0-4 0,0 0 0 0,-1-1 0 0,-1 0 0 15,1-1 0-15,0 0-4 0,-1 0-4 0,1-1-4 0,0-2-12 0,-1 1-12 16,2-2-4-16,-1 0-20 0,2-2-12 0,0 0-20 0,2-2-12 0,0 0-12 0,3-2-4 16,0 0-24-16,1 0-20 0,3-1 16 0,1-1 16 0,1 0 16 0,2 0 12 15,2-2 12-15,0 2 8 0,1-2 12 0,2 1 4 0,2 0 8 0</inkml:trace>
  <inkml:trace contextRef="#ctx0" brushRef="#br0" timeOffset="1099.0629">5047 4364 55 0,'-6'-6'84'0,"-1"0"-8"0,0 0-8 0,1 1 0 0,0-1-12 0,1 1-4 16,-1 0-4-16,0 2-4 0,2-1-8 0,0 0 4 0,0 1-4 15,1 0-8-15,1 0 4 0,0 1-4 0,2-1 0 0,0 2 0 0,2 0 4 0,0 1-8 16,2-2 4-16,1 4-4 0,2-2 0 0,1 1-4 0,0 2 4 0,2-2 0 16,3 2 0-16,-1 0-4 0,3 1 0 0,0-1 0 0,1 1-4 0,0 1 0 0,3 0 0 15,-1 0 0-15,2 1-4 0,0-1-4 0,0 1 0 0,1 0 0 0,2 0 0 16,-3 0-4-16,2 1 0 0,1 0 4 0,-1 0-8 0,-2-2 0 0,2 2 4 15,-1 0-4-15,-1-1 0 0,0 1 0 0,-1-1-4 0,-1 0 0 0,-1 0-4 16,-1 0 4-16,-1-1 0 0,-1 0 0 0,-2 0-4 0,0 0 0 0,-2-1-4 0,-1 0-8 16,-1 1-4-16,-2-1-8 0,0-2-4 0,-1 1-16 0,-2 0-12 0,-1-1 0 15,1 1-12-15,-3-3-12 0,0 1-12 0,-3-1-12 0,1 0 12 0,-1-1 12 0,-1-1 8 16,0 0 8-16,-1-1 8 0,-1-1 8 0</inkml:trace>
  <inkml:trace contextRef="#ctx0" brushRef="#br0" timeOffset="1397.0799">5391 4037 35 0,'7'-3'52'0,"-1"3"-4"0,1 0 0 0,-1 0 4 0,1 0 0 0,-1 1-8 0,2 1 8 15,-1 0 0-15,-2 0 0 0,1 2-4 0,-1 0 4 0,2 1-4 0,-3 1 0 16,0 0 4-16,-2 1 0 0,1 0-4 0,-2 2 0 0,0 1 0 0,0 0 0 15,-2 0 0-15,0 1 0 0,-1 1-4 0,0 1-4 0,-1 0-4 0,0 3 4 16,-1-2-12-16,0 2 4 0,-2 0 0 0,1 2-8 0,-1 0 0 0,-1 0 0 0,0 0-8 16,-1-1-4-16,0 2-4 0,0 0 8 0,-1 0-8 0,1 0 0 0,-1 0-4 15,1-1 0-15,-2 0 4 0,1 0 0 0,1-1-12 0,0 0 4 0,-1-1 4 0,1 0-8 16,1-1 12-16,-1-1-16 0,0 0 8 0,2-1-4 0,-1-1 4 15,1 0 0-15,1-2 4 0,-1 0-4 0,2-1 4 0,0 0-8 0,0-2 0 0,0 0-4 16,1-2-8-16,1 0-8 0,-2-1-12 0,2 0-8 0,2-2-16 0,-2-1-20 16,1-1-12-16,1 0-12 0,0-1-16 0,0-1-24 0,0-2 12 0,1 0 12 0,0-1 16 15,0 0 12-15,-1-2 8 0,1 0 8 0,0 0 8 0,0-2 12 0</inkml:trace>
  <inkml:trace contextRef="#ctx0" brushRef="#br0" timeOffset="4075.2331">6466 4661 31 0,'3'3'52'0,"1"-1"-8"0,-1 0-4 16,2-2-4-16,-1 0 0 0,0 0 0 0,1 0 0 0,-1-1 4 0,-1-2-8 16,1 2 12-16,-1-2 0 0,2 0-4 0,-2 0 4 0,0-1-4 0,0 0 4 0,-1-1 0 15,0 0-4-15,-2 0-4 0,0 0 8 0,0-1-4 0,0 0-4 0,-2 2 0 16,0-1 0-16,-1-1-4 0,-1 0 0 0,0 2-4 0,-2 0 0 0,0-1 0 15,0 2-4-15,-2 0 4 0,-1 0 0 0,0 2-4 0,-1 0 4 0,-2 2 0 16,0 0-4-16,-2 1 0 0,0 1 0 0,-1 2-8 0,-2 0 8 0,2 1-4 0,-4 1-4 16,2 1 0-16,0 2-4 0,-1 0 4 0,0 0-4 0,-1 2 0 0,1 0 0 15,2 1-4-15,-1-1-4 0,1 2 4 0,0 0 0 0,2 2-16 0,-1-1 12 0,3 0 4 16,0 0-8-16,0 1 4 0,3-1 8 0,1-1-4 0,0 1 0 0,3-2 4 15,1 0-4-15,2-1 0 0,1-1-8 0,3-2 4 0,1 0-4 0,2-2-4 16,3-2 4-16,1-1 0 0,3-1-4 0,1-1 0 0,1-1 0 0,2-2 4 16,0-1-4-16,2-1 0 0,0-1 0 0,2 1 4 0,0-3 0 0,-1 1 0 0,1-2 0 15,0 1-4-15,-1-1 4 0,1 0 0 0,-2 0 0 0,1-1 0 0,0 0 0 16,-3 1 8-16,2-1-8 0,-2 1 4 0,0 0 0 0,-2 0 0 0,0 0 0 15,-2 2 0-15,0 0 0 0,-3 1 4 0,-1 2-4 0,-1 0 4 0,-2 2-4 0,0 0 0 16,-3 2 4-16,-1 1 0 0,0 0-4 0,-2 2 4 0,-1 0-4 0,1 1 0 16,-2 1 4-16,-1 0 4 0,1 1-4 0,-1 0-4 0,1 1 4 0,0 0 4 0,-1 0 0 15,0 1-8-15,1 0 4 0,0 2 0 0,-1-3-4 0,0 1 0 0,2 1 4 16,-1 0-8-16,0-1 4 0,2 0 0 0,-2 1-4 0,2-1 4 0,0-1 0 15,0 0 0-15,1-1 0 0,0 2-4 0,0-3-4 0,1 1 4 0,-1-1-4 16,1 0 4-16,1-2-4 0,0 1 0 0,0 0 0 0,0-1 0 0,1-1-8 0,-1 0 0 16,2-1-4-16,-2 1-4 0,2 0 4 0,0-1-8 0,-2-1-12 0,1 1-8 15,1-2-12-15,-2 0-8 0,1 1-12 0,0-1-8 0,-1-1-16 0,1 0-4 0,0 0-16 16,0 0-20-16,-2-1 0 0,2 1 16 0,-2-2 12 0,2 0 12 15,-1-1 12-15,0 1 8 0,0 0 12 0,0-2 4 0</inkml:trace>
  <inkml:trace contextRef="#ctx0" brushRef="#br0" timeOffset="4425.2531">7262 5213 59 0,'7'-7'80'16,"-1"0"-8"-16,1 1 0 0,-2-1-12 0,-1-1 0 0,-1 1-4 0,1-2 12 0,-2 1 0 16,0 1-8-16,-1-3-4 0,-1 2-4 0,-1 0-4 0,-1-1 0 0,1 0 0 15,-3 1-4-15,-1 0-4 0,0 1 0 0,-1 0 4 0,-2 0-8 0,0 0 0 0,0 1 0 16,-3 1 0-16,1 1-8 0,-1 1 8 0,-2 1-8 0,1 0 4 15,-2 2-8-15,1 1-4 0,0 2 4 0,-2 0 0 0,1 2-4 0,0 0-4 0,0 2 0 16,0 2-4-16,0-1 0 0,1 1-8 0,1 2 0 0,1-1 4 0,0 2 0 16,3 0 0-16,0 1-4 0,2 1-4 0,1-1 0 0,1 0 4 0,3 0-4 0,1 0-4 15,3 1-4-15,0-2 8 0,3 1-4 0,2-1-8 0,0 0 0 0,2-1 0 16,1 0 4-16,1-2-4 0,3 0-8 0,-1-1-4 0,2 1 0 0,0-4-4 15,1 2-4-15,-1-1-4 0,3-2 0 0,-3 0-12 0,2 0-12 0,0 0 0 0,-1-2-8 16,-1 1-4-16,0-2-12 0,0 1-8 0,-2-2-16 0,-1 1-20 0,-1-1 16 16,-1 1 8-16,-1-1 16 0,-1 0 8 0,-2 0 12 0,-1 0 8 0</inkml:trace>
  <inkml:trace contextRef="#ctx0" brushRef="#br0" timeOffset="4823.2759">8174 5540 11 0,'1'-8'80'0,"-1"0"-4"0,0 0-4 0,0-1-4 0,-1 1 0 0,-1-2-4 16,1 1 4-16,0-1 0 0,-1 1-4 0,0-2 0 0,0 3 0 0,-1-2-4 0,1 1 4 15,-1 0-8-15,-1 0-12 0,0 1 8 0,-1-1-16 0,-1 2 12 0,1-1-4 16,-3 2-8-16,1 0-4 0,-2 0-4 0,0 3 4 0,-1-1-4 0,-1 2 0 15,0 0 0-15,1 1-4 0,-3 2-8 0,2 1 4 0,-1 1 0 0,-2 1-4 16,3 1 4-16,-2 2 0 0,1-1-12 0,1 1 4 0,-1 2-4 0,1 2-4 0,1 0 4 16,0 0 0-16,1 0-4 0,1 1 0 0,1 0 0 0,1 1-4 0,2 1 4 15,1 0 0-15,2 0-4 0,2-1 0 0,0 0 0 0,2 0-4 0,2 0-4 0,3 0 0 16,0 0 4-16,2-2 0 0,2 0-8 0,0-1 4 0,1 0-4 15,2-1 0-15,0 0-4 0,2-1-4 0,-1-1-4 0,3 0-8 0,-1-2-4 0,-1-1-12 16,1 1-8-16,0-1-12 0,0-1 0 0,0-2-8 0,-1 1-4 0,0-1-16 16,0-1-4-16,-1-1-16 0,-2 0-12 0,1-1 16 0,-2 0 12 0,0-1 12 0,-1-1 12 15,-2 0 8-15,0-1 8 0</inkml:trace>
  <inkml:trace contextRef="#ctx0" brushRef="#br0" timeOffset="5166.2955">8779 4809 7 0,'8'-11'88'0,"-1"1"-8"0,-1 1-8 0,-1 1 0 16,-1 1-12-16,0 2-4 0,-1 1-4 0,-2 1 0 0,2 3 0 0,-2-2 12 15,-2 4 4-15,-2 0 0 0,2 1 8 0,-3 2 0 0,0 0 0 0,-2 3 0 0,1 1-12 16,-4 0 4-16,1 3-12 0,-2 0 4 0,0 2-4 0,-1 0 0 15,-1 2-4-15,-1 2-4 0,0 0-4 0,0 1-4 0,-3 2-8 0,1 1 0 0,-1 1-4 16,-2 1-4-16,2 1 0 0,-3 2-4 0,2 0 0 0,-2 0-4 0,0 1-4 16,0 2 4-16,-1-2-8 0,1 1 4 0,-1 1-4 0,1-1 0 0,1 1-4 0,-1-2 0 15,1 1 4-15,0 0-4 0,1-2 4 0,0 1-4 0,1-1 0 0,1-1 0 16,-1 0-4-16,2-1 4 0,0-1-4 0,1 0 0 0,1-2 0 0,-1-1 0 15,3 0 4-15,0-2 0 0,0-1 0 0,1 0-4 0,1-3 0 0,-1 2 0 16,3-4 0-16,-1 2 0 0,1-4-4 0,2 1-4 0,-2-2 4 0,2-2-4 0,0 1-4 16,1-1-4-16,0-1-8 0,0-2-4 0,1 0-16 0,-1-1-8 0,1 0-16 15,0-2-20-15,1 0-16 0,0-2-8 0,0 0-16 0,-2-2-20 0,3 0-20 0,-1 1 12 16,1-3 16-16,-1-1 20 0,1 1 12 0,-1-1 8 0,1-1 12 0,0 1 12 15,0-2 8-15,0 0 8 0</inkml:trace>
  <inkml:trace contextRef="#ctx0" brushRef="#br0" timeOffset="6341.3627">9101 5897 43 0,'1'-2'64'0,"-1"0"-4"0,1 0-4 0,0-1-4 16,0 1 0-16,0 0-8 0,0 0 8 0,-1-1-8 0,0 1-4 0,0 0-4 0,0 0 0 16,1 0 0-16,-1-1-4 0,0 2 0 0,1 0-4 0,0-1 0 0,0 1 0 15,0 1 4-15,1 0 0 0,0 0-4 0,0 1 4 0,1 1 4 0,1 0 0 0,1 1-8 16,0-1 4-16,-1 3 0 0,3-1 0 0,-1 2 4 0,2-2-8 15,0 1 4-15,1 2-4 0,0-1-4 0,1 1 4 0,-1-1 0 0,2 2 0 0,1-1-8 16,-1 1 4-16,2 0 0 0,0-1-4 0,-1 2 12 0,2-1-8 0,-1 0-4 16,1 0 0-16,-1 1-4 0,2-1 4 0,-2-1-4 0,-1 2 0 0,1-2 4 0,-1 0-8 15,1-1 4-15,-2 1-8 0,-1 0 0 0,1-2 4 0,-1 1 0 0,-1-1-4 16,0-1 0-16,-1 1 4 0,0 0-4 0,-1-2-4 0,1 1 4 0,-3-2-4 15,0 2-4-15,1-2 4 0,-2 1 0 0,0-1 0 0,-1 0-4 0,2 0 0 16,-3-1 0-16,1 0-4 0,-1 0 0 0,0-1 0 0,0 0-4 0,0 0 4 0,-1 0-8 16,0 0-4-16,0 0-4 0,1-1-4 0,-1 0-12 0,-1-1-12 0,0-1-8 15,0 1-4-15,0-1-12 0,0 0-4 0,-1 0 8 0,-1-1-8 0,0 1-4 0,0-2 0 16,0 1 0-16,-1-1-8 0,0-1-4 0,0 1 0 0,-1 0-20 0,-1-1 4 15,1-1 12-15,0 1 12 0,0 0 12 0,0-2 8 0,-1 1 8 0</inkml:trace>
  <inkml:trace contextRef="#ctx0" brushRef="#br0" timeOffset="6617.3785">9452 5794 19 0,'2'-5'48'16,"1"1"-4"-16,-1 0 0 0,1 0-4 0,0 1 0 0,0 0 8 0,0 0-4 16,-1 1-12-16,1 1 12 0,-1-1-8 0,0 2 12 0,0 0 4 0,1 2-4 0,-1 0 4 15,-1 1 0-15,1-1 0 0,-2 3-4 0,0 0 0 0,0 2 0 0,-1 1 0 16,0-1-4-16,-1 2 4 0,0 1 0 0,-1 1-12 0,0 0 4 0,-1 0-8 15,0 3-4-15,-1-2 0 0,0 2 0 0,-1 0 4 0,0 1-4 0,1 0-4 16,-2 0-4-16,-1 1 0 0,0 1-4 0,0-1-4 0,-1 0 4 0,1 2-4 0,-1-3 0 16,0 2 0-16,-1-2-8 0,1 0 4 0,0 1 0 0,-2-2-4 0,2-1 0 15,1 1 0-15,-2-1 0 0,1 0 0 0,1-1 0 0,0-1-4 0,0 0 0 0,0-1 8 16,2-1-12-16,-1-1 4 0,0 1 4 0,1-2-12 0,1 0 12 15,0 0-8-15,0-2-8 0,1 1 4 0,0-1-4 0,0 0 8 0,1-3-8 0,0 3-4 16,1-3-12-16,-1 0-12 0,2 0-12 0,-1-1-16 0,0 0-16 0,1-1-16 0,1-1-20 16,-1-1-20-16,1 1-4 0,0-2 16 0,1 0 16 0,-1-1 12 0,1 0 8 15,0 0 12-15,1-1 12 0,-1-2 8 0</inkml:trace>
  <inkml:trace contextRef="#ctx0" brushRef="#br0" timeOffset="7699.4404">9971 6357 39 0,'-1'2'40'0,"0"0"-4"0,1 1 0 0,0 0 0 0,0 0 0 16,1 0 0-16,0 1 4 0,0 0 0 0,0 0-4 0,1 1-4 0,0 0 4 16,1 0-8-16,-1 1 0 0,2-1 0 0,-1 1 0 0,1 0 4 0,0 1 0 0,1 1-8 15,0-2 8-15,0 2 0 0,2-1-12 0,-1 0 4 0,2 0 4 16,-1 1 0-16,1 0 0 0,1 0-4 0,0 1-4 0,0-2 0 0,2 1 4 0,0-1-4 15,0 0 0-15,0-2 0 0,1 2 0 0,0-2 0 0,0 0-4 0,1-2 0 16,-1 1 0-16,1-1 4 0,0-2 0 0,-1 1 0 0,1-1 0 0,0 0 0 0,-1-2-4 16,0 0 4-16,0-1 0 0,-1 1 4 0,1-2 0 0,-1-1 0 0,-2 1 0 15,2-2 0-15,-2 0 0 0,0-1 0 0,0 0 0 0,-3 0 0 0,1-1 0 16,-1 0 0-16,-2-2-4 0,-1 1 4 0,-1-1 4 0,1 1-8 0,-2-2 0 0,-2 1 0 15,-2-1 0-15,1 0-4 0,-1 1 0 0,-1-2 0 0,-1 2 0 0,-1-1 0 16,0 0-4-16,-2 1 0 0,0 0 0 0,0 0 0 0,-1 2 0 0,-2-2-4 0,1 3 0 16,-2 0 0-16,0 0 0 0,0 1 0 0,-3 1 0 0,1 2-4 0,-2 1 4 15,0 1-8-15,0 0 4 0,-1 2 0 0,1 2 0 0,-1 0 0 0,1 2 0 16,0 2 0-16,0 1 0 0,1-1 0 0,-1 3-4 0,3 1 0 0,-1 1 0 15,2 0 4-15,0 2 0 0,1 0 0 0,2 1-4 0,-1 1 0 0,2-1 4 0,2 1 0 16,0 0-4-16,2 1 4 0,0 0-4 0,3 0-4 0,2-1 4 0,1 0 0 16,2 0 0-16,0-1-12 0,3 0 12 0,0-1-4 0,4 0 0 0,-1-1 0 0,1-1 0 15,3-1 0-15,-1 0-4 0,2-1 0 0,-1-2 0 0,1 1 0 16,-1-2-8-16,3 1 0 0,-2-4-12 0,0 3-8 0,0-3-4 0,1-1-8 0,-2 0-4 15,1 0-8-15,-1-2-12 0,0 0-4 0,-1 1-4 0,0-3-16 0,0 2-4 16,-2-2-8-16,0 0-20 0,-1-2-12 0,0 1 8 0,-1-1 12 0,1 0 16 0,-1 0 12 16,-2-1 8-16,0 1 12 0,2-2 8 0,-2 1 8 0</inkml:trace>
  <inkml:trace contextRef="#ctx0" brushRef="#br0" timeOffset="8044.4602">11486 6286 67 0,'10'-8'104'0,"1"0"-16"0,-3 1-12 0,-1 1-4 15,2-1-8-15,-3 3-4 0,0-1-4 0,-2 2-4 0,-1 0-4 16,0 2 4-16,-2 0 0 0,-2 2 4 0,-1 0 8 0,-1 2-8 0,-2 0 4 0,-1 2 4 15,-4 1 4-15,1 1 8 0,-2 0-12 0,-2 2-4 0,-1 0 0 0,-3 2 0 16,1 0-4-16,-3 0 0 0,0 3-8 0,-3 0-4 0,0 1-4 0,-2 2 0 0,0-1-8 16,-1 3 0-16,-2 0-4 0,-1 0 0 0,-1 3-4 0,-2-1-4 0,1 1 0 15,-2 1-4-15,0-1 0 0,0 2-4 0,0-2-4 0,0 1 4 0,1-2-4 16,1 2-4-16,0-1 0 0,1 0 0 0,2-1 0 0,1-1-4 0,0 0 0 15,3-1 0-15,0 1-4 0,2-3 4 0,2 1-4 0,0-2 0 0,1-1-4 0,2-2 0 16,1 1-4-16,2-2 0 0,1-1-8 0,1-1-4 0,2-1-4 0,1-1-12 16,1-2 0-16,3-1-16 0,1 0-16 0,1-2-12 0,1-1-16 0,2-2-20 0,1 0-12 15,1 0-24-15,1-3-20 0,2 1 20 0,-1-2 20 0,1-1 12 16,-1 1 16-16,2-2 12 0,0 1 8 0,0-2 12 0,-1 0 4 0,2 0 12 0</inkml:trace>
  <inkml:trace contextRef="#ctx0" brushRef="#br0" timeOffset="8779.5022">12287 6933 3 0,'7'-13'68'0,"1"-1"-4"15,-1-1-4-15,0 0 0 0,0 0-8 0,-2 0-4 0,3-2 8 0,-2 1-4 16,-1 0 0-16,0-1 4 0,0 0-4 0,0 1 0 0,-1 0 0 0,0-1 0 0,-2 0 0 16,1 3 0-16,-2-2 0 0,1 1 0 0,-1 1-4 0,-1-1 0 0,0 2-12 15,0 0 4-15,-1 1-4 0,0 0-8 0,-1 2-4 0,-1 1-4 0,0 0 8 16,-2 3 0-16,-1 2-4 0,-1 1-4 0,1 1 0 0,-2 3 4 0,-2 2 0 15,0 1 0-15,-2 3 0 0,0 2 0 0,0 2 4 0,-2 1-4 0,0 2-4 0,-2 2 0 16,1 2 4-16,-2 1-4 0,0 2-4 0,-1 2 0 0,1 0 0 0,-2 1 0 16,1 2-4-16,-1 1-4 0,-2 0 4 0,2 3 0 0,-1-1-4 0,-1 3 0 0,1-2 0 15,0 2 0-15,-1 2 0 0,1-1 0 0,1 0 0 0,0 0-4 0,0 0 4 16,0 0 0-16,2-1 0 0,0 0-4 0,1-1 4 0,0-1 0 0,2 0 0 15,-2-2-4-15,3 0 4 0,-1 0 4 0,2-3 0 0,0 0-4 0,0-2 0 0,3 0 0 16,-2-1 0-16,1 0 0 0,1-3 0 0,0 1-4 0,1-3 0 0,0 0 0 16,2-1 0-16,-3 0 4 0,4-3-4 0,-1-1 0 0,0 0 0 0,1-2 0 0,0-1-4 15,-1-1 0-15,2-1 0 0,1-2 4 0,-1 0-4 0,1-2 0 16,-1 0 0-16,0-2 0 0,2-1 0 0,-3 0-4 0,2-3-4 0,1 0 0 0,-2-1 4 15,2-1-4-15,0-1 0 0,-2-1 0 0,2-1-4 0,-1-2 0 0,0 0 0 16,1-1-4-16,-2 0-4 0,1-2-4 0,0-2 0 0,0 1 8 0,1-2 0 0,-2-1-4 16,1 0-4-16,0-1 8 0,0-1 0 0,0 0 4 0,-1-1 0 0,1 1 0 15,0-2 4-15,0 1-4 0,0 0 8 0,1 0 0 0,-1 1-4 0,1-1 8 16,0 1 0-16,0 1-4 0,0 1 0 0,1 0 4 0,-1 0 0 0,0 1 8 15,1 2-8-15,1-1 4 0,-1 2 0 0,0 0 0 0,1 2 0 0,1 1 0 0,0 0-4 16,0 2 4-16,3 0 4 0,-2 1 0 0,1 2-4 0,1 1 4 0,2 1 0 16,0 1 0-16,2 0 0 0,-1 1 0 0,1 2 0 0,1 0 0 0,3 1 0 0,-2 1 0 15,2 0 0-15,2 1 4 0,-1 1 0 0,3 0-4 0,-1 1 0 16,2 0 0-16,-1 1-4 0,3 1 4 0,-1 0 0 0,1 0 0 0,0 1-4 0,1 0 0 15,1 0 0-15,-1 2 0 0,0-1-4 0,1 1 4 0,-1 0 0 0,-1-1-4 16,1 2 4-16,-1-2-4 0,-1 1 4 0,0 0-4 0,-1-1 4 0,-1 0 0 0,0 1 0 16,-1-1-4-16,-1-1 4 0,-1 0-4 0,-2 0 0 0,2-1 0 0,-3-1 0 15,-2 1 0-15,0-3 0 0,0 2-4 0,-1-1 0 0,-1-2 0 0,-1 0-8 16,-2 0-12-16,0-1-8 0,1-2-16 0,-3 1-12 0,0-2-8 0,0 0-20 15,-1-2-12-15,0 1-12 0,-1-2-8 0,0-1-20 0,1 0-20 0,-2-2 8 0,-1 0 20 16,2 0 12-16,-2-1 12 0,1 0 12 0,0-1 12 0,0-1 8 0,-2 1 12 16,2 0 8-16</inkml:trace>
  <inkml:trace contextRef="#ctx0" brushRef="#br0" timeOffset="10387.5942">12968 7902 51 0,'-2'0'56'0,"0"0"4"0,0 0 0 0,0 1-4 0,1-1-4 0,-1 0 4 16,0 0 4-16,0 0-8 0,0-1 0 0,0 1 4 0,0 0 0 0,0 0-4 0,-1 0 0 16,2-1-4-16,-1 1 0 0,0-1-8 0,1 1 0 0,0-1-4 0,0 1-4 15,0 0 0-15,0 0-4 0,1-1-4 0,-1 1 0 0,1 0 0 0,0 0-4 16,0 1 0-16,0 0 0 0,1 1-4 0,-1-1 0 0,2 0 4 0,0 2 8 15,0 0-4-15,1 0-4 0,0 1-8 0,1 0 8 0,0 0 4 0,1 1-8 0,0 0-8 16,0 0 8-16,1 1-4 0,1 0-4 0,0 0 0 0,0 1 0 0,1 0 0 16,2-2 0-16,-1 3-4 0,0-1 0 0,1 0 0 0,-1 1 0 0,2-1 8 0,0 1-8 15,0-1 4-15,-1 0-4 0,2 1 0 0,-2-1 4 0,1 0-8 16,0 0 0-16,-1-1 8 0,-1-1-4 0,1 1-4 0,-2-2 4 0,0 2 0 0,0-2 4 15,-1 0 0-15,0-1-4 0,-2 1 0 0,1-2 0 0,-1 1 0 0,0-1 0 16,-2 1 0-16,1-2-4 0,-3 0 0 0,0 0 0 0,0-1 0 0,-1 0 0 0,-1 0-8 16,0 0-8-16,-1-1 0 0,-1-1-4 0,0 0-20 0,-1 0-8 0,-1 0-12 15,1-1-16-15,0-1-12 0,-1 2-16 0,0-2-16 0,-1 1-16 0,1-2-12 16,-1 1 16-16,1 1 12 0,0-1 20 0,-1 0 12 0,-1 0 8 0,2 0 8 0,-1 0 8 15,1 0 8-15</inkml:trace>
  <inkml:trace contextRef="#ctx0" brushRef="#br0" timeOffset="11001.6293">13875 8085 51 0,'4'-4'52'0,"1"-1"4"0,-1 1-8 0,0 0 8 0,0 0-4 15,0 0-12-15,1 1 4 0,-2-1-8 0,0 2 8 0,0-2 0 0,0 2-4 16,0 0 8-16,-2 1 4 0,1 1 0 0,-1 0 0 0,-1 1 8 0,1 1-4 15,-2 1 4-15,1 0-4 0,-2 2 4 0,0 0-8 0,-2 2 0 0,1 0-4 0,-2 0 0 16,0 3 0-16,-2-1-4 0,0 2 4 0,0 1-8 0,-2 0-4 0,-1 1 0 16,0 0 0-16,-1 1-8 0,-1 0 0 0,-1 0-4 0,-2 3-4 0,2-2 0 0,-2 1-4 15,-1 1 0-15,0-1-4 0,-1 0 0 0,-1 1 0 0,1-2-4 16,-2 2-4-16,0-2 0 0,2-1 0 0,-2 1-4 0,2-1 0 0,0-1 0 0,-1 1 0 15,2-2 0-15,0-1-12 0,0 1 4 0,2-2 0 0,-1-1-8 0,3 0-4 16,-2-1 0-16,3 0-16 0,1-2-4 0,-1-1-4 0,2-1-4 0,2 0-8 0,-1-1-4 16,2-1-8-16,2-2 4 0,0 0-12 0,1-1 0 0,1-2-8 0,1-1-4 15,1-1-12-15,1 0-12 0,1-3-12 0,1 0 8 0,0-2 12 0,1-1 12 16,1 0 12-16,2-3 8 0,-2 1 4 0,2-1 12 0</inkml:trace>
  <inkml:trace contextRef="#ctx0" brushRef="#br0" timeOffset="11431.6539">13611 8120 55 0,'9'-11'56'0,"1"1"0"0,-1 1 0 15,-1 2 8-15,1 3-4 0,-1 0 4 0,0 3-8 0,-2 1 4 16,2 0 0-16,-1 2-4 0,-1 2-4 0,-1 1-4 0,0 2 0 0,-1 0 0 0,2 1 0 15,-3 2 0-15,-1 0-4 0,1 3 4 0,-2-1-8 0,1 0-4 0,-1 2 8 16,0 0-4-16,-1 0-8 0,-1 1 4 0,1 0-16 0,-1 0 8 0,0 1-4 0,0 0-8 16,1 0-4-16,-2 0 4 0,0 0 0 0,0-1-8 0,0 0 4 0,0 0-8 15,-2 1 0-15,1-4 4 0,1 1-4 0,-2 1 0 0,1-2-4 0,0-1-4 16,0 0 8-16,0-1 0 0,1 0-12 0,-2 0-4 0,1-3 4 0,0 1 4 0,1-1-4 15,0-2-12-15,0 0-4 0,0 0-4 0,1-1-4 0,0-2-4 0,0 0-4 16,0 0-4-16,0-2-4 0,0-2 4 0,1 1 0 0,-1-1-8 0,0-2 4 0,0 0 0 16,0 0-4-16,0-2 4 0,0-1 8 0,-1-1 4 0,1 1 4 0,-3-2 4 15,2-2 4-15,0 1 4 0,-1-1 0 0,0-1 4 0,0 0 0 0,0-1 4 16,-1-2 4-16,0 3 4 0,1-3 4 0,-2 1 0 0,1 1 4 0,0-1 0 15,0 0 4-15,0 1 0 0,-1 0 8 0,1 1-4 0,-1 0 8 0,1 1-12 0,0 0 4 16,1 1-4-16,0 2 12 0,-1-2-4 0,2 3 0 0,0 0 0 0,1 2 4 16,0 0 8-16,1 2 4 0,1 1 0 0,0 1 0 0,1 1 0 0,1 1 4 0,0 2 4 15,2 1 0-15,0 0 0 0,2 2 0 0,0 1 0 0,1 1 0 16,1-1-8-16,1 3 0 0,0-2 0 0,-1 1-4 0,4 2 0 0,-2-2-4 0,1 2 0 15,1 0-4-15,0-1 0 0,1 3-4 0,0-2 0 0,1-1 0 0,-1 2-4 16,1-1 4-16,-1 0-4 0,1-1-4 0,-1 0 0 0,-1 0 4 0,1 0-8 0,-1-1 0 16,0 0 0-16,0-2-4 0,-2 0 4 0,0 0-4 0,-1 0 0 0,1-2 0 15,-3 1 4-15,0-1-4 0,-1-1 0 0,1 1 0 0,-2-2-4 0,-1 1-8 16,0-2 4-16,-2 0-8 0,0 1-16 0,-1-3-16 0,-1 2-12 0,0-2-12 15,-1 0-24-15,-1-2-20 0,1 1-28 0,-2-2-8 0,-1 1 16 0,2-1 16 0,-2 0 12 16,0-2 12-16,1 0 12 0,-2 0 8 0,1 0 8 0,1 1 8 0</inkml:trace>
  <inkml:trace contextRef="#ctx0" brushRef="#br0" timeOffset="11839.6772">14256 8639 47 0,'1'0'52'0,"-1"0"0"0,1 0 4 0,1 0-8 0,-1 1 4 0,1 1-8 15,0-2 8-15,1 3-4 0,-1-2 0 0,3 2-4 0,-1-1-8 0,-1 1 4 0,1 1 4 16,1 0-4-16,1 0-4 0,0 1 0 0,0-1-4 0,0 2 0 0,1-1 0 16,1 1 0-16,0-1-4 0,0 1 0 0,1 1 0 0,1-2-4 0,-2 2 4 0,2 0-4 15,-1 0 0-15,1 0-4 0,-1 0 0 0,1 0 0 0,0 0-4 16,-1-1 0-16,0 0-4 0,0 0-4 0,-1 1 0 0,-1-2 0 0,0 0-4 0,0 0 4 15,0-1-4-15,-1 0-4 0,-1 0-4 0,-1-1 0 0,0 0-8 0,-1-1-12 16,1 0-12-16,-2 0-20 0,0 0-8 0,-2-1-16 0,0-1-12 0,0 0-28 0,-2 0-12 16,0 0 16-16,-2-1 12 0,1 0 8 0,-1-1 16 0,0 1 4 0,0-1 12 15,-1-1 8-15</inkml:trace>
  <inkml:trace contextRef="#ctx0" brushRef="#br0" timeOffset="14752.8439">15656 9263 27 0,'-1'-5'40'0,"0"0"-8"0,1-2 0 0,-1 1-4 0,1 1 0 0,-1-1 4 16,1-1-4-16,-1 1 0 0,1 0 0 0,-2-3 4 0,1 2 0 0,0 0 4 0,-1-1 0 15,0 1-4-15,1-1 4 0,-2 1 0 0,1-2 4 0,-1 1-4 0,-2 1 4 16,0-1 0-16,1 1 0 0,-1 0 0 0,0-1 0 0,-1 1-4 0,-1 1-4 0,-1 0 4 15,1 0-4-15,-2 0 4 0,1 2 0 0,-2 0-4 0,0 1-4 16,1-1 0-16,-3 2-4 0,1 2 0 0,-1-2-4 0,0 2 0 0,0 1-4 0,-1 0-4 16,0 1 4-16,0 2-4 0,0-1 0 0,1 0-4 0,-2 2 0 0,3 0 0 15,-2 1 0-15,1 0-4 0,2 0 4 0,-1 0 0 0,1 3-4 0,1-3 0 0,0 2 4 16,1 0 0-16,2-1-4 0,1 1-4 0,0 0 12 0,1-1-12 0,2 0 8 15,2 0-12-15,1 0 8 0,2 0-4 0,1-1 0 0,2 0-4 0,1 0 0 16,2-2 4-16,2 1-8 0,0-2 8 0,0 1-4 0,4-2 0 0,-1 1 0 16,1 0 0-16,0 0-4 0,1-1 8 0,-1-1-4 0,2 1 4 0,-2 1 0 0,1-2 0 15,0 1 4-15,-1 2-4 0,0-1 0 0,0 0 4 0,-2 1 0 0,1 0 0 16,-1 0 0-16,-2 3 4 0,-1-1-8 0,-2 2 12 0,0-1-4 0,-2 2-4 0,-1 1 0 15,-3 0 8-15,-1 2-4 0,-2 0 0 0,-1 0 0 0,-3 3 0 16,0-1-4-16,-2 2 0 0,0 0 4 0,-2 0 4 0,-2 2 4 0,0-2-8 0,0 2 0 16,-2 2 0-16,0-2 4 0,-1 1-4 0,-1 1 4 0,0 0-4 0,0 0 4 15,-2 1 0-15,1-2 4 0,-2 2 8 0,1-2 0 0,-2 1 0 0,1-1 4 0,0 1-4 16,0-1 4-16,0 0 0 0,-1-1 0 0,0-1 0 0,2 0 0 0,-1 0 0 15,2-1 0-15,-1 0 0 0,1-1-4 0,0-1 4 0,1 0-12 0,0-2 12 16,1 0-12-16,1-1-4 0,1 0-12 0,0-2 0 0,1 1 0 0,1-2 0 0,0-1 0 16,0 0 0-16,2-1 0 0,0-2 0 0,0-1 0 0,2 0 0 0,0-1 0 15,0-2 0-15,1-1 0 0,0 0 0 0,0-2 0 0,2-1 0 0,-1-2 0 16,1 0 0-16,-1-1 0 0,0-2 0 0,1 0 0 0,-1-2 0 0,0 0 0 0,-1 0 0 15,0-3 0-15,1 2 0 0,-1-3 0 0,1 0 0 0,-2 0 0 0,0-2 0 16,1 1 0-16,-1-2 0 0,1 1 0 0,0 0 0 0,-2 0 0 0,2-1 0 0,1 1 0 16,-1 0 0-16,1 0 0 0,0 1 0 0,0 0 0 0,-1 1 0 0,2 1 0 15,1 0 0-15,0 2 0 0,0 0 0 0,2 0 0 0,-1 3 0 0,1-1 0 16,1 3 0-16,1-1 0 0,0 2 0 0,2 1 0 0,2 1 0 0,-1 1 0 0,0 0 0 15,3 1 0-15,0 2 0 0,3 0 0 0,-1 1 0 0,1 1 0 16,2 1 0-16,1-1 0 0,1 2 0 0,1 0 0 0,1 0 0 0,0 1 0 0,3 0 0 0,1 2 0 16,-2-1 0-16,3 0 0 0,1 0 0 0,-1 2 0 0,1-2 0 15,1 3 0-15,0-1 0 0,1 0 0 0,-2-1 0 0,2 3 0 0,-1-2 0 0,0 1 0 16,-1-1 0-16,0 1 0 0,0-1 0 0,-1 1 0 0,-2-1 0 0,1 0 0 15,-2 1 0-15,-1-2 0 0,0 0 0 0,-4 1 0 0,2-1 0 0,-3 0 0 0,0 0 0 16,-2-1 0-16,-1 0 0 0,-1 0 0 0,-2-1 0 0,0-1 0 0,-2 1 0 16,-1-1 0-16,0-2 0 0,-1 2 0 0,-2-2 0 0,0-1 0 0,-1 1 0 15,-1-1 0-15,1 0 0 0,-1-2 0 0,-1 1 0 0,-1-2-8 0,0 1-36 16,1 0-12-16,-1-1-16 0,1-1-8 0,-1 0-8 0,0 0-16 0,1 1-12 0,-1-3-12 15,1 2-8-15,-1-2-20 0,1 0-16 0,-1 2 20 0,2-2 16 0,-1 1 16 16,0 0 20-16,1-1 8 0,1 1 8 0,0 0 12 0,1 0 4 0,0 0 12 16</inkml:trace>
  <inkml:trace contextRef="#ctx0" brushRef="#br0" timeOffset="15131.8655">16069 9599 39 0,'-1'-3'56'0,"-1"1"0"15,2 2 4-15,-1 0 4 0,2 0-8 0,-1 1 0 0,2 1 0 0,-1 0 4 16,1 2 0-16,1-1-4 0,0 2-4 0,0-1 0 0,1 2-4 0,2 1-4 0,-1-2 4 16,0 2-8-16,1 0 0 0,1 1-4 0,1 0 0 0,0 1-4 0,1 0 4 15,0 0-4-15,2 1-4 0,0 0 4 0,2-1-16 0,0 3 16 0,0-3-8 16,1 4-4-16,1-3 0 0,0 2 0 0,0-2-8 0,2 2 8 0,-2-2-4 15,2 1 4-15,-2 0-8 0,1-1 0 0,0 0 0 0,-1-1 0 0,0 1-4 16,1-2-4-16,-3 1 4 0,2-2 0 0,-2 1 0 0,0-1-4 0,0-1 0 0,-2 0 4 0,0 0-4 16,-1-2-4-16,-1 1 8 0,-1-2-8 0,0 2 4 0,-3-3-12 15,0-1 4-15,-1 1-12 0,1-2-8 0,-3 0-4 0,0-1-12 0,-2-1-12 0,1 0-8 16,-1-1-8-16,-1-1-8 0,1-1 0 0,-1 0-12 0,-1-2-12 0,1 1-8 15,-3-1-16-15,2-1 4 0,0 0 16 0,0 0 8 0,-1-2 12 0,1 0 12 0,-2 0 8 16,2 1 8-16</inkml:trace>
  <inkml:trace contextRef="#ctx0" brushRef="#br0" timeOffset="15383.8799">16486 9575 43 0,'5'1'52'0,"-1"1"0"0,-1-1 4 0,0 2 0 0,1 1 0 0,0-1 4 15,-1 1 0-15,-1 1 4 0,1 0-4 0,-2 2 0 0,1-2 0 0,-2 2 0 16,-2 2 0-16,1-1 0 0,-2 1 8 0,0 0-8 0,-1 2 0 0,-1 0 4 15,-1 0-8-15,-1 0-4 0,-1 1-4 0,-1 1-4 0,0 1-8 0,-2 1 0 0,0-1 4 16,0 2-8-16,-2-1-8 0,0 2 0 0,-1-2-8 0,1 2 0 0,-2-1 0 16,0 0-4-16,0 1 0 0,0-1 0 0,0 0-4 0,1 0 0 0,-1-1 0 15,0 0-4-15,2-1-4 0,-1 1 0 0,2-2 0 0,-2 0 0 0,4-1-4 0,-1 0 0 16,0-2-4-16,2 0 0 0,0 0-4 0,0-2-4 0,2 0-12 0,1-1-8 15,0-1-12-15,1 0-16 0,2-2-20 0,-1 0-16 0,1-1-32 0,2-2-24 0,1 0 0 16,0-1 20-16,0 0 12 0,1 0 16 0,2-2 12 0,-1 0 12 16,2-1 12-16,-1 0 4 0,1 0 8 0</inkml:trace>
  <inkml:trace contextRef="#ctx0" brushRef="#br0" timeOffset="15490.8861">16354 10200 51 0,'6'10'88'0,"0"-1"-12"0,-1 1-12 0,0 0-8 0,-2-1-8 15,1-1-24-15,0 1-20 0,-1 1-32 0,-1-3-48 0,0 0-8 0,1 0 12 0,-3-1 4 16,0-1 8-16</inkml:trace>
  <inkml:trace contextRef="#ctx0" brushRef="#br0" timeOffset="18237.0431">3352 4443 47 0,'5'4'40'0,"0"-1"-4"0,3 2-8 0,-2-1 0 16,1 0-4-16,-1 0-4 0,1 0 0 0,1 0 0 0,0 0-4 0,-1-1-4 16,1 0 0-16,2 1 0 0,-1 0 0 0,-1 0-4 0,1 1 0 0,0-2 0 15,-1 1 0-15,-1 0 0 0,3 0-4 0,-2 1 0 0,-1 0 4 0,1-1-8 0,1 1 4 16,-1 0 0-16,1 1-4 0,0 0 4 0,-1 0 0 0,1-1 0 0,0 2 4 15,1 0-4-15,-2 0 0 0,0 0 4 0,1 0 0 0,-1 1 0 0,1-1 0 0,-2 1 0 16,2 0 0-16,-1-1-4 0,0 2 4 0,0-1-8 0,1 0 4 0,-1 1 0 16,0 1 4-16,2-1 0 0,-2 0-4 0,1 0 0 0,0 1 0 0,1 1 0 15,0-2 8-15,0 2-4 0,1-1 0 0,0 2 4 0,0-2 0 0,2 2-4 16,-2-1 8-16,3 1-4 0,-1 0 4 0,2 0-4 0,-1 0 0 0,2 0 8 0,0 1-4 15,0-1-4-15,1 1 0 0,1 1 0 0,-1-1-4 0,2 0 4 0,-1 0 0 16,2 2 4-16,0-3-4 0,-1 3 0 0,2-2-4 0,0 2 0 0,-1-1 0 0,2 0 4 16,-1 1-4-16,0-1 4 0,1 2-4 0,0-2 0 0,0 1 4 15,0 0-4-15,1 0 4 0,-1 1-4 0,1-1 4 0,-1 0 0 0,1 2-4 0,0-2 0 16,-1 0 4-16,1 2-4 0,0-2 0 0,0 2-4 0,0 0 0 0,0-2 4 15,1 2-4-15,1 0 4 0,-1 0 0 0,0 0 0 0,1 0-4 0,1-1 0 0,-1 2 4 16,2 0 0-16,0-1 0 0,-1 1-4 0,2 0 0 0,0 0 0 0,0 0 4 16,0 2-4-16,1-1 0 0,0-1 0 0,1 0 0 0,-1 3 0 0,1-2 0 15,1 0 4-15,-1 1-4 0,1 0 0 0,-1-1 0 0,1 1 0 0,-1 0 0 0,1 0 0 16,0 1 0-16,0-2 4 0,1 1 0 0,-1 0-4 0,0 0 0 0,0 0 0 15,1 0 4-15,-1 1-4 0,0-1 0 0,1 0 0 0,-1 0 0 0,0-1 0 0,1 2 0 16,0-1 0-16,-2-2 4 0,2 2-4 0,-1-1 0 0,0 0 0 0,0-1-4 16,1 1 4-16,-1 0 0 0,0 1-4 0,0-1 4 0,0-1 0 0,1 1 0 15,-2 0-4-15,0 1 4 0,2-2-4 0,-2 1 0 0,0 1 4 0,0 0 0 16,0-2 0-16,0 2 0 0,-1 0 0 0,1 0-4 0,-1 0 4 0,0 0 0 0,0-1 0 15,-1 1-4-15,0-1 4 0,-1 2-4 0,1 0 0 0,0-2 4 0,0 1-4 16,-1-1 4-16,1 1-4 0,-1 0 4 0,0 0 0 0,0 0 0 0,-1-1 0 0,1 0-4 16,-1 0 0-16,0 0 0 0,1 0 4 0,-1-1 0 0,1 0 0 15,-3 0 0-15,2 0-4 0,0-2 0 0,0 2 4 0,-2-1 0 0,2 0-4 0,-1-2 4 16,-1 2 4-16,1-1-4 0,0 0 0 0,-1-1 0 0,0 2-4 0,-1-2 0 15,1 1 4-15,0-1-4 0,-2 0 0 0,2 0 0 0,-1 0-4 0,0 1 4 0,-1-1 4 16,1 0-4-16,0 0 4 0,-1 2 0 0,1-2-4 0,0 0 4 0,-1 1-4 16,0 0 0-16,0 0 0 0,1-1 0 0,-1 0 0 0,-1 1 4 0,2 0-4 15,-1 0 4-15,-1-1 0 0,1 1-4 0,0 0 4 0,-1-1-4 0,1 2 0 16,0-2 0-16,0 0 0 0,-2 2 0 0,2-2 4 0,0 1-8 0,-1-1 8 0,1 1-4 15,0 0 0-15,0-1 0 0,-1-1 0 0,1 1 0 0,-1 0 0 0,1-1 8 16,-1 1-8-16,1-1 0 0,-1 0 0 0,1 0 0 0,0 0 0 0,0 0 4 0,-1 0-4 16,1-1 0-16,0 0 0 0,-1 1 0 0,1-1 0 0,-1 0 0 15,1 0 0-15,-1 0 4 0,1 0-4 0,-1 0 0 0,0-1 4 0,0 1 0 0,1-1 0 16,-2 1-4-16,2 0-4 0,-1-1 4 0,-1 0 0 0,2 1-4 0,-1 0 0 15,0 0-4-15,1 0 12 0,1 1-4 0,-1-2 0 0,-1 1 0 0,2 0 0 0,1 0 0 16,-1 0 4-16,0 0-4 0,1 0-4 0,0 0 4 0,1 0 4 0,-1 1 0 16,1-1-4-16,1 0-4 0,-1 0 8 0,1 1 0 0,0-1-8 0,0-1 0 15,0 2 8-15,0-2-4 0,1 1-4 0,-1 1 0 0,1-2 8 0,0 1 0 0,-2 1-8 16,2-1 4-16,0-1 4 0,-1 0-8 0,1 1 4 0,-1 0-4 0,0-1 8 15,-1 0 0-15,1-1 0 0,-1 3-4 0,1-2 0 0,-1 0-8 0,1 0 12 0,-2 1-8 16,1 0 4-16,0-1-4 0,0 0 8 0,0 0-8 0,-2 1 4 0,2 0 0 16,0-1-4-16,0 1 0 0,-1-1 8 0,0 1-4 0,1-1-4 0,0 0 8 15,-1 1 0-15,1 0-4 0,-2-1-4 0,2 1 4 0,0 0 4 0,-1 0-8 16,2 0 0-16,-2 0 8 0,0 1 0 0,1-1-8 0,0 0 8 0,0 2-8 0,-1-3 4 15,1 3-4-15,1-2 4 0,-1 2 4 0,1-1-4 0,-2 1 4 0,2-1-4 16,-1 0-4-16,1 1 8 0,0 1-8 0,-1-2 4 0,1 1-4 0,-1 0 4 0,1 0 8 16,0 1-8-16,0-2-4 0,0 1 4 0,-1 1 4 0,1-1-4 15,0 0 4-15,0 0-8 0,0 0 0 0,-1 0 8 0,1-1-4 0,-1 2-4 0,2-2 8 16,-1 1-8-16,-1 1 8 0,2-3-8 0,-1 2 8 0,0-1 0 0,0 0 0 15,0 0-8-15,2 0 0 0,-1 0 4 0,0-1 4 0,1 0-4 0,0 0 0 0,0 1 0 16,0-1 0-16,1 0 0 0,0-1 0 0,0 1 4 0,1 0-4 0,-1-1 0 16,1 0 0-16,0 1-4 0,0-1 4 0,-1 1 0 0,1-2 0 0,0 1 4 15,-1 0-8-15,1 0 4 0,-1 1 0 0,0-1-4 0,0 0 0 0,0 0 8 0,-3 0-8 16,2 1 4-16,0-1 0 0,-2 1 0 0,1-1 4 0,-1 3-8 0,0-3 0 15,-1 2 8-15,0-1-4 0,-1 1-4 0,1 1 4 0,0-1 0 0,-2 1-8 16,1 0 8-16,0 0 0 0,0 2 0 0,0-2 0 0,-1 2 0 0,2-2-4 0,-1 1 0 16,2 1 8-16,-3 0 4 0,3 0-8 0,0 1 8 0,0-2 0 0,0 2 0 15,1-1-12-15,0 1 4 0,-1-1-4 0,1 1 0 0,1-1 0 0,0 0 12 16,-1 0 0-16,1 0 0 0,0 1-12 0,0-2 4 0,0 2-4 0,-1-2 8 0,0 0-8 15,1 0 8-15,0-1-8 0,-1 2 4 0,0-2 8 0,-1 0-8 0,1-1 8 16,-2 1-16-16,0-1 12 0,0 2-8 0,0-3 8 0,-1 1-12 0,-1 0 16 0,0 0-8 16,0-1-4-16,0 1 8 0,-1-1 4 0,-1-1-4 0,2 1 4 15,-3 0-4-15,1 0 0 0,-2-1-12 0,1 0 16 0,0 1 0 0,0-1-12 0,-2-1 4 16,1 1 0-16,-1-1 0 0,-1 0 0 0,1 1 0 0,-2-1 4 0,1 0-8 15,-2-1 0-15,1 1 0 0,-2-1 4 0,1 0 4 0,-2 0 0 0,1-1-4 0,-2 0 4 16,0 0-4-16,-1 0-8 0,0-1 0 0,-1 0 4 0,0-1 0 0,-2 2 0 16,-1-2 0-16,1-1-8 0,-1 0 4 0,0 1-4 0,-2-2-4 0,0 0-8 15,0 0-8-15,0 1-12 0,-2-3-16 0,0 1-16 0,-1-1-20 0,0-1-24 0,-2 0-24 16,1 0 8-16,0 0 16 0,-2-2 8 0,1 1 16 0,-1-2 12 0,0 0 8 15,-1 0 12-15,0-1 4 0</inkml:trace>
  <inkml:trace contextRef="#ctx0" brushRef="#br0" timeOffset="51858.9662">2996 4497 3 0,'-5'-6'28'0,"1"0"0"0,-1 0 0 15,1 0-4-15,-1 0 0 0,1-1 0 0,-2 2 4 0,2-2-4 0,-1 0 0 0,0 1 0 16,1-1 0-16,-1 0 0 0,-1 0 0 0,2 1 4 0,0 0 0 15,0 0 4-15,1 2-4 0,1-2-8 0,-1 2-4 0,1 1 8 0,-1-2-4 0,1 1-4 16,-2 1-4-16,2 0 4 0,-1-1 8 0,2 1-12 0,-2 0-4 0,2 1-4 16,-1-1 0-16,1 2 8 0,0-1-8 0,0 1 16 0,1 1-8 0,-1-2-4 0,1 2 4 15,0-1 0-15,0 1 0 0,1 0 0 0,0 0 4 0,1 0 0 16,0 1-4-16,1 0-4 0,0 0 4 0,0 0 0 0,3 1-4 0,-2-1 8 0,1 0 0 15,1 2-12-15,1-1 12 0,1 0-12 0,-1 1 8 0,1 0-4 0,1 0 4 16,2 0 0-16,-1 1-4 0,1 0 4 0,1-1-4 0,1 2 0 0,2-1-4 0,-1 0 0 16,3 1 4-16,0-1 0 0,2 2-4 0,1-1 4 0,1 0 0 0,2 1-4 15,0 1 4-15,1-2 0 0,2 1-4 0,0 1 4 0,2-1-4 0,1 1 4 0,0 0-4 16,1-1 4-16,0 1 0 0,1 0 0 0,1 1-4 0,0-2 0 0,1 2 0 15,-1-2 4-15,1 2-8 0,1-1 4 0,-1 0 0 0,2 1 0 0,1-1 0 16,-1 0 0-16,0 1 0 0,2 0 0 0,-1 0-4 0,1 0 4 0,0 1 0 0,0-2 0 16,-1 1 0-16,1 1 0 0,-2-1 0 0,1 0 0 0,0 2-4 0,-2-3 4 15,1 2 0-15,-2-1 0 0,1 0 0 0,-1 1-4 0,-1 0 0 0,-1-2 4 0,0 0-4 16,0 1 0-16,-1 0 0 0,-1-1 0 0,0 1 0 0,-1-2 0 15,-1 1 0-15,-2-1 0 0,-2 0 4 0,0 1-4 0,-1-2 0 0,-1 0 0 0,-3 0 0 16,0 0 0-16,-4-1 0 0,1 0-4 0,-2 0 4 0,-2-1 4 0,1 1-4 16,-3-2 4-16,-1 1 0 0,-1-1 0 0,0-1 4 0,-2 1-4 0,0-1 0 0,-1 0 0 15,-2 0 4-15,2-1-4 0,-3 1 0 0,1-1 4 0,0 0-4 0,-2 0 0 16,0 0 0-16,1 0-4 0,-1 0 4 0,0 0 0 0,0 0 0 0,0 0 0 15,0 0 0-15,-1 0 0 0,1 0-4 0,0 0 0 0,0 0 0 0,0 0 0 16,0 0 0-16,0 0 0 0,0 0 0 0,0 0 0 0,0 0 0 0,0 0-4 0,0 0 4 16,0-1-4-16,-1 2 4 0,1-1 0 0,0 0 4 0,1 0-4 0,-1 0 0 15,0 0-4-15,0 0 0 0,0 0 0 0,0 0 0 0,0 0 0 0,0 0-4 0,0 0 0 16,0 0 0-16,0 0 0 0,0 0 0 0,0 0-4 0,0 0-8 15,0 0-4-15,0 0-8 0,-1 0-4 0,1-1-8 0,0 1 0 0,0 0-20 0,-1 0-4 16,1 0-8-16,-2 0-28 0,2 0-8 0,-3 0 8 0,1 0 12 0,1 0 12 16,-2 0 4-16,1 0 12 0,0-1 8 0,-1 0 4 0</inkml:trace>
  <inkml:trace contextRef="#ctx0" brushRef="#br0" timeOffset="57007.2607">4986 5274 35 0,'-2'-4'32'0,"0"-1"-4"0,0 0 0 0,1 0 0 0,-1 0-4 15,1 1 0-15,-1 0 0 0,1-1 0 0,0 0 4 0,0 2 0 0,-2-1 0 16,2 0 0-16,0 0 0 0,-1 0 0 0,1 0 8 0,0 0 0 0,0 2-8 0,1-2-8 16,0 2 8-16,0-1 0 0,-1 0 4 0,2 1-16 0,0 0 4 0,-1 0 4 15,2 1-12-15,0-1 8 0,0 1 0 0,2-1-8 0,0 1 4 0,0 1 0 0,0 0 8 16,1 0-8-16,1 1-4 0,1 1 0 0,1-1 0 0,0 1 0 15,1 0-8-15,2 1 12 0,-1 1-8 0,3-1 8 0,1 1-8 0,0 0 4 0,3 1-4 16,-1 1 0-16,3-1-4 0,1 1 4 0,1 0 0 0,1 1 0 0,2 1-4 16,1-1 4-16,-1 0-4 0,3 2 0 0,0-2-4 0,0 2 4 0,2-2 0 0,0 2 0 15,0 0 0-15,-1 0-4 0,2-1 4 0,-1 0 0 0,1 0-4 0,-2 0 4 16,0 0 0-16,-1 0 0 0,-1-1-4 0,0 0 0 0,-2 0 0 0,0-1 0 15,-1 1 0-15,-2-2 0 0,-1 2 4 0,-1-1 0 0,-2-2-4 0,-1 0 0 0,-1 0 4 16,-2 0-4-16,-1-1 0 0,-1 1 0 0,-2 0 0 0,0-2 0 0,-2 1 4 16,-1-1 0-16,-1-1-4 0,-1 2 4 0,0-2-4 0,-1 1 0 0,-2-2 0 0,1 2 4 15,-1-2-4-15,0 1 0 0,0 0 0 0,-1-1 0 0,0 1 0 0,0-1 0 16,-1 0 0-16,0 0-4 0,0 0 4 0,0 0-4 0,0 0-8 0,-1 0 0 15,0 0 0-15,-2 0-8 0,2 0-8 0,-2 0 0 0,1 0-8 0,-1 0-8 16,1 0-8-16,-2-1-8 0,1 1-8 0,-2 0-16 0,1 0-16 0,0 0 4 0,0 0 8 16,-1-1 12-16,1 2 8 0,-2 0 4 0,1-1 12 0</inkml:trace>
  <inkml:trace contextRef="#ctx0" brushRef="#br0" timeOffset="83090.7526">8980 6434 23 0,'-4'-4'28'0,"0"1"-4"0,1 0 0 0,0 1-4 15,-1-2 0-15,1 3 0 0,0-3-4 0,-1 2 0 0,1 0-4 0,1 0 4 16,-3-1 0-16,2 1 0 0,0-1 0 0,0 1-4 0,0 0 4 0,0-1 0 16,0 0 4-16,1 0 0 0,0 2 0 0,1-1-4 0,-1 0 0 0,0 1 4 0,1-1-4 15,0 2 4-15,-2-2 0 0,2 1-4 0,1 1-4 0,-1-2 0 0,0 2-4 16,0-1 0-16,0 1 4 0,1-1-8 0,0 1 4 0,-1 0-4 0,1-1 0 0,-1 1 0 15,1 0 4-15,-1 0-8 0,1 1 4 0,0-1 0 0,0 1-4 16,1 0 4-16,0 1 0 0,0-1 4 0,0 1-4 0,2 1-4 0,-2 1 0 0,4-1 4 16,-2 0 8-16,1 1-8 0,0 1 4 0,1 1 4 0,1-2-8 0,1 3 0 15,1-1 4-15,0 1-4 0,1 1 0 0,1-1 0 0,0 1 4 0,1 1-4 0,2 0 0 16,0 1 4-16,2-1-8 0,-1 1 8 0,1 1 0 0,0-1-4 0,2 2 0 15,-2-3-8-15,3 2 12 0,-2 0-4 0,1-2-8 0,-1 2 12 0,1-2-4 16,-1 0 4-16,0 0-8 0,0 1 8 0,0-2 0 0,-2-1-8 0,1 0 8 0,-2 0 8 16,0-1-8-16,-2 0 8 0,0-1-8 0,-1 0 0 0,-1-2-4 0,-2 0 4 15,2 1 0-15,-4-3 0 0,-1 0-4 0,-2-1 4 0,0-1-8 0,-2 0 8 16,-2-2-4-16,0 1-4 0,-2-2 4 0,-1 1 4 0,-3-2-8 0,0 0 8 0,-1-1-4 15,-2 1 0-15,1-1-4 0,-2-1 0 0,-1 0 8 0,0-1-4 0,-1 1 0 16,1 0 0-16,-1-1 0 0,-1 0-4 0,1 0 0 0,-2 0 0 0,2 0 0 16,-1-1 4-16,0 0 0 0,0 0 4 0,2 2-4 0,-1-1 0 0,1 0-4 15,0 1 4-15,1-1-4 0,2 1 4 0,-1 1 0 0,2 0-4 0,1 0 0 0,0 1 8 16,2 0-8-16,0 0 4 0,2 2-4 0,1-2 0 0,0 3 4 0,2-1-4 15,0 0 4-15,2 2-4 0,1-1 0 0,0 1 0 0,2 0 4 0,1 2 0 16,0 0-4-16,3 1 0 0,-1-1 0 0,1 2 0 0,1 0 0 0,2 1 0 0,1 0 0 16,0 1 4-16,1 0 0 0,0 1-4 0,2 0 0 0,0 0 0 0,2 1 0 15,-1 0 0-15,1 0 0 0,2 0 0 0,-2 0 0 0,2 2 4 0,-1-2 0 0,1 1-4 16,-1-1 0-16,0 0 0 0,-1 0 4 0,0 1 0 0,-1-2 0 0,0 1-4 15,-1-1 8-15,-1-1-4 0,0 1 0 0,-3-2-4 0,0 0 4 0,0 0-4 16,-3-1 4-16,-1-1 0 0,-1-1 0 0,-1 0-4 0,-1-1 0 0,-2-1 0 16,-1 0 4-16,-4075-1-4 0,8145-1 0 0,-4073 1 0 0,-2-2 0 0,-1 1 0 0,-1-2 0 15,-1 0 0-15,1 0-4 0,-1 0 0 0,-2-1 0 0,2 0 0 0,-1-1-8 16,1 1 0-16,-1-1-24 0,0 0-8 0,2 0-8 0,0 2-16 0,-2-3-12 0,3 1-24 15,1 1-4-15,-1 0 8 0,1 1 8 0,2-1 12 0,-1 1 8 16,3 1 8-16,-1 1 8 0,1-1 8 0</inkml:trace>
  <inkml:trace contextRef="#ctx0" brushRef="#br0" timeOffset="103531.9217">3108 4346 35 0,'-6'3'40'0,"0"0"-4"0,-1-2-4 0,0 1-4 16,1-2-4-16,-1 2 0 0,0-2 0 0,0 1-4 0,0-1 0 0,1 1-8 16,0-1 0-16,-1-1 0 0,2 1-4 0,-1-1 0 0,0 0 0 0,1 0-4 15,0-1 4-15,0-1-8 0,0 1 4 0,2-1 0 0,0 1-4 0,0-1 4 16,1 1-4-16,-1 1 4 0,2 0-4 0,0 1 0 0,-1-1 0 0,1 2 0 0,1-1 0 15,0 1 0-15,0 0 0 0,0 1-4 0,0 0 0 0,1-1 0 16,1 1-4-16,0-1-4 0,1 2-24 0,-1 0-32 0,2-1 0 0,0 0 4 0,0 0 8 16</inkml:trace>
  <inkml:trace contextRef="#ctx0" brushRef="#br0" timeOffset="113785.5082">2447 10231 31 0,'2'-7'36'0,"0"1"-4"0,0 0 0 0,-1 2-8 0,0 0 0 0,1-1-4 15,-1 2-4-15,0 0-4 0,0 0 0 0,0 1 0 0,0 1 0 0,-1 0-4 16,0 0 0-16,0 2 4 0,0 0-8 0,0 0 4 0,0 1-4 0,-1 1 4 15,-1 0-4-15,1 0 0 0,1 2 4 0,0-1 0 0,-1 2-4 0,1 1 0 0,0 0 0 16,0 1 0-16,0 0 0 0,1 1 4 0,-1-1-4 0,0 2 4 0,0 0-4 16,0-1 4-16,0 3-4 0,0-2 0 0,0 2 4 0,-1-1 0 0,0 1 0 0,-1-1 0 15,1 2 4-15,0-1-4 0,-2 1 0 0,1-1 8 0,-2 1-4 0,2 0-4 16,-1 0 8-16,-1 0-4 0,1 1 0 0,0-1-4 0,-1 1 8 0,0 0-4 15,0 0 0-15,-1 0 0 0,0 1 0 0,1 0 0 0,0-1-4 0,0 2-8 16,0-1 8-16,0 0 4 0,-1 1-4 0,1 1-4 0,0 0-4 0,0 0 8 0,-1 2 4 16,1-1 4-16,-1 3-4 0,-1-1 4 0,0 1 0 0,1-1-4 0,-1 2 0 15,1-1 0-15,0 1-4 0,0-1 0 0,0 2 0 0,0-2 0 0,1 3 0 16,-1-3 0-16,1 2 0 0,-2 0 0 0,2-1 0 0,-1 1 0 0,1 0-4 0,0 0 4 15,-1 1-4-15,0 0 0 0,0 0 0 0,0-1 4 0,1 2 0 0,0-1 0 16,-1 0 0-16,0 0-4 0,0 1 8 0,0-1 4 0,1 1-4 0,0-1 4 0,-1-1 0 16,1 3 0-16,-1-2-4 0,-1 1 0 0,1 0 4 0,1 1-4 0,-1 0 4 15,-1-1-4-15,0 1 4 0,-1 0 0 0,1 1 0 0,-1-1 0 0,0 2-4 16,-1 0 0-16,-1-1 4 0,1 0 0 0,0 1-4 0,-2 0 4 0,1 1 0 15,-1 0 0-15,-1 0 0 0,1 1-4 0,-1-2 0 0,-1 1 0 0,3-1 4 0,-2 2-8 16,0-2 0-16,1 0 4 0,1 1-4 0,-1-2-4 0,1-1-4 0,0 3 12 16,0-3-4-16,2 1 0 0,-2 0-12 0,3-1 4 0,-2 0 0 0,2-1 8 0,0 2 0 15,0-4-8-15,1 3 4 0,1-2-4 0,-2 0-4 0,2 0 4 16,1-2 4-16,0 1-4 0,0 0 0 0,1-3 0 0,-1 2 0 0,2-1 0 0,-1-1 0 15,0 0 4-15,2 0-8 0,-2 0 8 0,-1 0-4 0,3-1 0 0,-2 0 0 16,1 0-4-16,-1 1 8 0,2 0 0 0,-2 0-4 0,0 0-4 0,1 0 4 0,-1 1 8 16,0-1 0-16,0 2 0 0,0-1-8 0,0 0-4 0,-1 1 8 0,1 0-4 15,-1 0 0-15,-1 2 0 0,2-2-4 0,-1 1 0 0,-1 1 8 0,1-1 0 16,0 1 4-16,-1-1-8 0,0 0 0 0,0 1 0 0,-1 0-4 0,1-1 4 0,0 2 4 15,0-3 0-15,0 2-8 0,-1 0 0 0,0-1 0 0,-1 0 0 0,1 0 8 16,0 1 4-16,0-2-8 0,0 0-4 0,-2 0 0 0,1 0 0 0,0 0 0 0,1 0 8 16,-1 0 0-16,0 0 0 0,-1 0-4 0,1-1 4 0,-1 1 0 0,1 0 0 15,-2-1 0-15,2 1-4 0,-1-1-4 0,1 0 4 0,-1 1 0 0,-1-1 8 16,1 2 0-16,0-1-8 0,1-2 4 0,-2 1-12 0,1 0 12 0,0 0-4 15,1 1-4-15,-1-2 0 0,-1 2 4 0,1-2 8 0,1 1-12 0,-2-1 0 0,1 0 4 16,0 0 8-16,2-1-8 0,-2 2 8 0,1-2-8 0,-2 0 8 0,2 0-8 16,0-2 4-16,0 1-4 0,-2 0 0 0,3 0 0 0,-1-1 4 0,1-2-12 0,-1 2 4 15,1-2 4-15,-1 1 0 0,2-2 0 0,-1 1 4 0,1-1-4 0,-1-1 4 16,1-1-4-16,1 1 0 0,-1-1-8 0,1-1 8 0,-1 0 0 0,2-1 4 15,-1-1 0-15,2 0 0 0,-2-1 0 0,2 0-8 0,-1-1 0 0,1 0 4 0,-1-1 0 16,2-1 0-16,-1 1-4 0,0-1 0 0,0-1 8 0,1-1 4 0,-1 0-4 16,1 0 0-16,0 0 0 0,0-1 0 0,0 0 0 0,0-1-8 0,0-1 8 0,0 2 0 15,0-1 0-15,0-1 4 0,1 0-4 0,-1 0 0 0,0 0-4 16,0 0 4-16,0 0 0 0,0 0 0 0,0 0 0 0,0 0 4 0,0-1-4 0,0 1-4 15,0 0 0-15,0 0 0 0,0-2 0 0,-1 2 4 0,1 0-4 0,0 0 0 16,0 0 8-16,0 0-4 0,0 0-4 0,0 0 0 0,0 0-4 0,0 0 0 0,0 0 4 16,0 0-4-16,1 0 4 0,-1 0 4 0,1-1-4 0,-1 1 0 0,1 0 0 15,0 0 0-15,0 0 0 0,0-1 4 0,1 0-4 0,0 1-8 0,0-1 8 16,0 1 4-16,2 0-4 0,-1-1 0 0,0 0 4 0,2 0-8 0,-1 0 0 15,1 0 8-15,1 1-4 0,0 0 0 0,0-2-8 0,3 2 12 0,-2-1 4 0,1 1-4 16,1-2-4-16,1 2 4 0,1-1-4 0,1 0 0 0,-1 1 0 0,2 0 4 16,1-1 0-16,0 0-4 0,2 1-8 0,0 0 8 0,2 0 0 0,0 0 4 0,2 1-4 15,0-1 0-15,1 1 0 0,3-1 4 0,0 1-4 0,2 0 4 16,0-1-4-16,2 2 4 0,2-1-4 0,1 1 4 0,1-2-12 0,1 3 12 0,2-1-4 15,0 0 4-15,2 0 4 0,0 1-4 0,2 0-4 0,-1 0 0 0,1-1 4 16,1 3 0-16,1-3-4 0,0 3 0 0,-1 0 4 0,2 0 0 0,-1 0-4 0,0 0 0 16,1 0 4-16,-2 1 4 0,1 0-4 0,0 0 0 0,-2 0-4 0,0 1 8 15,1-1-8-15,-3 0 8 0,0 2-8 0,-2-1 4 0,-1 0-4 0,0 1 8 16,-2-2-4-16,-1 1 0 0,-1 0-4 0,-1 1 0 0,-1-1 4 0,-2 0 0 15,0 0-4-15,-2-2 8 0,-1 2-8 0,-1-1 0 0,-1-1 0 0,-3 1 4 0,1-1-4 16,-1 0 0-16,-3 0 0 0,0-2 4 0,-2 1-8 0,0 0 12 0,-2-1-8 16,-1 0 4-16,-1 0 0 0,0-1-4 0,-2 1 0 0,-1-2-4 0,-1 0 0 0,-2 0-4 15,0 0-8-15,0 1 0 0,-3-2-8 0,0 0-20 0,-3 0-16 16,1-1-4-16,-1 0-20 0,-1-1-16 0,-1 0-20 0,-1 1-32 0,0-3-8 0,-2 1 12 15,1-1 20-15,-1-1 12 0,0 0 12 0,-2-2 12 0,1 0 8 0,1-3 12 16,-2 1 8-16,2-4 8 0</inkml:trace>
  <inkml:trace contextRef="#ctx0" brushRef="#br0" timeOffset="115110.584">4438 10282 7 0,'2'-1'32'0,"-1"0"-4"16,-1-1 4-16,1 2-4 0,-1 0 0 0,-1 1 0 0,0 0-4 0,0 0 4 15,0 1-4-15,0 1 0 0,-1 0 0 0,0 1 0 0,0 1 0 0,-1 0 4 0,0 0 0 16,0 2-4-16,-1 1-4 0,0 0 4 0,0 3 0 0,-1-2-8 0,1 2 4 16,-1 1 8-16,1 0-4 0,-1 2 0 0,-2-1 0 0,2 2-4 0,-1 1 0 0,1 0-4 15,-1 2 4-15,-1 0 0 0,1-1-4 0,0 3 0 0,0 0 4 0,0 0-8 16,-1 1 8-16,1 0-12 0,-1 1 4 0,2-1 4 0,-1 3-8 0,-1-1 8 15,1 0 0-15,1 0 0 0,-1 2-4 0,0-1 0 0,0 0 0 0,1 1-4 16,0-1 0-16,0 0 0 0,0 0 0 0,0 1-4 0,0-1 4 0,0 0 0 0,1 0 0 16,0 0 0-16,1-1-4 0,-2 1 0 0,2-1 0 0,-1 0 0 0,0-1 0 15,0 0 0-15,2 0 0 0,-1 0 0 0,0 1 4 0,0-2 0 0,0 3 0 16,-1-1 4-16,0 0 0 0,-1 2 4 0,0-1 4 0,0 1-4 0,1 0 0 0,-2 1 0 15,-1-1-4-15,1 0 0 0,-1 0 0 0,0 0 4 0,1 1 0 0,-3 0 0 16,2-1-4-16,0 0 4 0,-1 2-8 0,-2-2 8 0,2 1-8 0,0 0 4 0,0 0-4 16,-2-1 0-16,2 0-4 0,-1 2-4 0,-1-1 12 0,1 0-12 0,0-1 12 15,0 0 0-15,-1 1 4 0,1-2 4 0,0 1-4 0,0-2-4 0,0 0 8 16,1 2 0-16,-1-2 0 0,1 1-4 0,-1-1 4 0,0 0 0 0,0 2 4 15,0-2-8-15,0 0 4 0,-1 1 0 0,1-1 0 0,-1 0-4 0,-1 1 0 0,2-1 0 16,-2 0 0-16,-1 1 4 0,1 0-8 0,-1-1 4 0,-1 0 0 0,1 1-4 16,-2 0 4-16,2 0 0 0,-1-2-4 0,-1 1 0 0,2 0 0 0,-2-1 0 0,1-1 0 15,0 0 0-15,1-1-4 0,0 0 0 0,0-1-4 0,0 1 4 16,1-2 0-16,-1-1 0 0,2 2 0 0,-1-2 0 0,2 1 0 0,0 0 0 0,0-2-4 15,0 1 4-15,1-1 0 0,1 1 0 0,-1-1 0 0,1 0 0 0,1 0-4 16,0 0 0-16,1-1 0 0,-1 1-4 0,0 0 0 0,1 0 0 0,1 0 0 0,-1 0 0 16,0 0 0-16,1 0 0 0,-2 0 0 0,2 1 0 0,-1 0 0 0,0-1 0 15,1 2 0-15,-1-1 0 0,0 0 0 0,-1 1 0 0,1-2 0 0,-1 2 0 16,0-1 0-16,0 2 0 0,0-2 0 0,-1 1 0 0,1 0 0 0,0 0 0 0,-1 0 0 15,0 0 0-15,0 1 0 0,0-3 0 0,0 2 0 0,0 0 0 0,0-1 0 16,0 1 0-16,0 0 0 0,1-1 0 0,-3-1 0 0,3 1 0 0,-1 0 0 0,1-1 0 16,-1 1 0-16,0 0 0 0,1-1 0 0,0 0 0 0,0 0 0 0,0 0 0 15,0 0 0-15,0 0 0 0,0 0 0 0,1-1 0 0,-1 1 0 0,1-1 0 16,0 0 0-16,0 2 0 0,-1-2 0 0,2 0 0 0,-2 0 0 0,1 1 0 15,0-1 0-15,1 1 0 0,-1-1 0 0,1 0 0 0,-1 1 0 0,0-1 0 0,1 0 0 16,-1-1 0-16,1 2 0 0,0-2 0 0,0 2 0 0,0-2 0 0,-1 1 0 16,2-1 0-16,-2 0 0 0,1 1 0 0,1-2 0 0,-1 2 0 0,0-1 0 0,1-1 0 15,-2 0 0-15,1 1 0 0,1-1 0 0,0 0 0 0,-1 0 0 0,1 0 0 16,-1-1 0-16,1 0 0 0,-2 1 0 0,2-1 0 0,0 0 0 0,0 0 0 15,-1 0 0-15,1 1 0 0,0-1 0 0,0-1 0 0,-1 1 0 0,-1 0 0 0,2-1 0 16,-1 2 0-16,0-1 0 0,0-1 0 0,0 1 0 0,0 0 0 0,0 0 0 16,-1 0 0-16,1 0 0 0,0-1 0 0,0 2 0 0,0 0 0 0,-1-1 0 0,1 1 0 15,-1-1 0-15,0 2 0 0,1-1 0 0,-1 0 0 0,1 0 0 16,-1 2 0-16,1-3 0 0,-2 3 0 0,2-2 0 0,-1 1 0 0,0 0 0 0,1 0 0 15,-1-1 0-15,0 0 0 0,1 1 0 0,0-1 0 0,0 0 0 0,1 0 0 16,-1-1 0-16,0 0 0 0,1 1 0 0,-1-1 0 0,1 0 0 0,0-1 0 0,1 0 0 16,-1-2 0-16,1 2 0 0,-1-2 0 0,2 0 0 0,-2-1 0 0,2-1 0 15,0 0 0-15,-1 0 0 0,1-2 0 0,1 1 0 0,-1-1 0 0,0 0 0 16,1-2 0-16,-1 1 0 0,1-1 0 0,0 0 0 0,-1-1 0 0,1 1 0 0,0-2 0 15,0 0 0-15,0-1 0 0,0 1 0 0,0 0 0 0,0 0 0 0,1-1 0 16,-1 1 0-16,0-1 0 0,0 0 0 0,0 0 0 0,0 0 0 0,-1 0 0 0,1-1 0 16,0 1 0-16,-2 0 0 0,2 0 0 0,0 0 0 0,-1-1 0 0,0 1 0 15,0 0 0-15,0 0 0 0,0 0-52 0,-2 0-28 0,1-1-24 0,-1 0-16 16,0 1-28-16,-1-1-36 0,-1 1-12 0,-1-1 16 0,0-2 20 0,0 0 16 15,-1-1 20-15,-1-1 12 0,-1-1 12 0,0-1 8 0,0-3 12 0,-2-1 12 0,0-3 8 16</inkml:trace>
  <inkml:trace contextRef="#ctx0" brushRef="#br0" timeOffset="116173.6448">2350 14391 27 0,'0'-3'44'0,"0"-1"-4"15,-1-1-4-15,-1 1 0 0,0-1-4 0,0 0-4 0,-1 0 4 0,0 0-4 0,0 0 4 16,-1 0-4-16,0 0 4 0,-2-1-4 0,1 1-8 0,-2 0-4 0,2 0 4 16,-3 1-4-16,0 0 0 0,1 0 4 0,-2 0 4 0,0 1-12 0,-1 1 0 0,1 1 4 15,1 0-4-15,-3 1 4 0,2 0 0 0,0 2 0 0,-1 0 0 16,1 0-4-16,0 1 0 0,1 1-4 0,-2 1 0 0,3 0 0 0,-2 1-4 0,1 0 8 15,1 0-4-15,0 1 0 0,1 1 0 0,1-1 0 0,-1 2 0 0,1-1 4 16,1 0-8-16,0 0 0 0,2 1 0 0,0-1 0 0,2-1 0 0,0 2-8 0,1-2 8 16,0 0 4-16,1-1-4 0,2 1 0 0,1-2-4 0,1 0-4 0,-1-1 8 15,3-1-4-15,-1 0 0 0,2-1 4 0,2-1 0 0,-1 0-4 0,2-1 0 16,0-1 0-16,0 0 8 0,2-1-8 0,-1 0 0 0,1 0-4 0,-1-1 4 15,1 0 0-15,0 0 0 0,0-1-4 0,0 1 12 0,-2 1-12 0,2-1 0 0,-2 0 4 16,2 1-4-16,-3 0 0 0,1-1 8 0,-1 2 4 0,0-1-4 0,-1 1 0 16,0 1 0-16,-2 1 0 0,-1 1 0 0,1-1 4 0,-2 2-4 0,-1 0 4 0,-1-1-4 15,0 3 0-15,-2 0-4 0,1 0 8 0,-3 1-8 0,2 1 0 16,-2-1 4-16,1 2-8 0,-1-1 8 0,0 0-8 0,0 1 8 0,0-1 0 0,-1 1-4 15,1 0 0-15,0-1 0 0,0 1 0 0,0-2-8 0,0 2 12 0,0-3-8 16,1 2 4-16,-1-1-4 0,1 1 0 0,-1-3-4 0,1 0 0 0,1 0-16 0,0 0 0 16,-1-1 0-16,1-1-8 0,0 0-4 0,-1 0-8 0,1-1 0 0,0-1-12 15,-1 0-20-15,0-1-4 0,0-1-8 0,0 1 8 0,-1-2 8 0,1 0 8 16,0 1 8-16,-1-1 8 0</inkml:trace>
  <inkml:trace contextRef="#ctx0" brushRef="#br0" timeOffset="116728.6765">1823 13970 23 0,'-7'-7'36'0,"2"-1"0"0,-2 1 4 0,0 0 0 16,1 0-4-16,0 0 0 0,1 1-8 0,0 0 4 0,0-1-12 0,-1 2 4 0,2 0-8 15,0 0 4-15,2 0-4 0,-1 0 0 0,2 1 0 0,1 1 0 0,0 0 0 16,1 1-4-16,0-1 4 0,2 1 0 0,2 2 0 0,0-1 0 0,3 1-8 0,1 1 8 16,1 1 0-16,2-1 0 0,1 2-4 0,4 1 4 0,-1-1 0 0,4 1 0 15,2 0-4-15,0 0-4 0,2 1 4 0,3 0 0 0,2 1 0 0,0 0-12 16,3-1 12-16,1 2-4 0,0 0 4 0,1-2-4 0,1 3-8 0,2-2 4 15,0 2 0-15,-1-1 4 0,0-1-8 0,1 2-4 0,0 0 8 0,-1 0-4 0,-1-1 4 16,0 0 0-16,-1 1-4 0,-1-2-4 0,-1 2 8 0,-2-1 0 0,-1 0-4 16,-1-1 8-16,-2 0-12 0,-1 1 8 0,-3-1 0 0,-2 1 4 0,-2-1-16 0,0 0 8 15,-2 0 4-15,-3-1 4 0,-1 1-4 0,-1-2-8 0,-2 1 12 16,-2-1-4-16,1 0 4 0,-3 0 0 0,0-2 4 0,-2 2-4 0,0-1-4 0,-1-1 0 15,-1 0 0-15,0 0 0 0,-1-1-8 0,0 0 12 0,-1-1-12 0,1 0 4 16,-2 0 0-16,0 0 0 0,0 0-4 0,-1-2 0 0,1 2 0 0,-1-2 0 0,0 0 4 16,-2-1-8-16,2 1 0 0,0 0-8 0,-2-1-4 0,1 0-12 0,-1 0-4 15,1-1-4-15,-2 0-8 0,1 0-4 0,1 0-8 0,-1-1-16 0,0 0-8 16,-1-1 0-16,0 1 8 0,0-1 8 0,1 1 16 0,-1-2 0 0</inkml:trace>
  <inkml:trace contextRef="#ctx0" brushRef="#br0" timeOffset="117293.7089">2527 13370 23 0,'-1'-6'32'0,"0"1"-4"16,1 0-4-16,0 2-4 0,1 0 4 0,0 0-4 0,0 1 0 0,-1 0 0 15,2 2 0-15,0 0-4 0,-1 1 4 0,1 2-4 0,1-1 0 0,-2 2 4 0,0-1-4 16,1 3 4-16,-2-1-4 0,1 1 0 0,0 1 0 0,0 0 0 0,-1 1-4 16,0 1 0-16,0 0 4 0,0 1 0 0,-1-1-4 0,0 3 0 0,0-1-4 0,0 2 4 15,-1 0 0-15,-1-1-4 0,0 2 4 0,1 0-4 0,-2 0 0 16,0 1 4-16,0 0-4 0,0-1-4 0,0 0 0 0,-2 0 4 0,2-1 0 0,0 1-4 15,-1-1 0-15,1-1 4 0,0-1 0 0,0 1-8 0,0-2 12 0,-1 1-12 16,2-2 4-16,-1 0 0 0,2 0 8 0,-2-2-12 0,3 0 8 0,-2-1-8 0,2-2 4 16,1 0-4-16,0-1-4 0,0-1 12 0,2-2-12 0,1-1 4 0,-1-1 0 15,2-1 4-15,1-1 4 0,2-1-12 0,-2 0 4 0,3-2 0 0,-1 2 4 16,1-2 4-16,2-1-8 0,-1 1 0 0,0 0-4 0,2-1 4 0,-1 0 0 0,1 1 4 15,1 1-4-15,0-1-4 0,0 0 4 0,0 1 0 0,1 0 4 0,0 1 0 16,-1 0-8-16,2 0 4 0,-1 2-4 0,-1 1 12 0,1 0 0 0,-1 2 4 0,0 0-4 16,-1 2-4-16,0 0 8 0,0 1-8 0,-1 2 4 0,-1 0 0 15,0 1 0-15,-1 0 0 0,-1 1-8 0,-1 2 8 0,1-2 0 0,-1 2 4 0,-2 1-8 16,0-2 0-16,-1 2 4 0,1 0 0 0,-2 0 0 0,0-1-4 0,-1 1 4 15,-1 0 4-15,-1 0-4 0,0-1 0 0,-1 1-4 0,-1-2 4 0,0 2 0 0,-2-2-8 16,0 0 4-16,-1 0 0 0,-1-1-4 0,-2 0 8 0,1-1-8 0,-2-1-4 16,0 1 4-16,-1-1 0 0,-1-2 4 0,0 0 0 0,0 0-12 0,-2-1 8 15,1-1-4-15,-1-1 0 0,1 2-4 0,-1-4-4 0,1 2-16 0,0-1 4 16,-1-1-16-16,1 1-8 0,0-2-4 0,2 1-4 0,-2-1-16 0,3-1-24 0,0 1 0 15,0-1 12-15,2 0 12 0,0-1 8 0,2 2 8 0,0-1 4 0,0 2 8 16</inkml:trace>
  <inkml:trace contextRef="#ctx0" brushRef="#br0" timeOffset="117822.7391">2318 13579 15 0,'-1'-3'40'16,"1"1"-4"-16,0-1-4 0,0 1-4 0,1-1-4 0,0 1 0 0,2 0 0 0,-2 0-4 15,2 1 0-15,-1-1-4 0,1 2 0 0,2-2 4 0,-1 2 0 0,0 0-4 16,1 0 0-16,1 2 0 0,1 0 4 0,0 0 0 0,-1 2 4 0,3 0-8 0,-1 1 4 16,1 0 4-16,0 1 0 0,2 2 0 0,-1 0-16 0,1 0 0 0,1 1 8 15,1 0 0-15,1 2-8 0,0-1 0 0,1 1 12 0,0 0-4 0,2 1-8 16,0 0 4-16,0 0 0 0,1 0 0 0,1-1-8 0,0 2 12 0,-1-1-16 0,2 0 8 15,-2 1 0-15,1-2-4 0,0 1 4 0,-1-1-4 0,0-1-4 0,-1 0 12 16,0-1-8-16,-1 0 0 0,0-1-4 0,-2-1 4 0,0 0 4 0,-1-1 0 0,1-1 0 16,-4 0-4-16,0-1 0 0,0 0-4 0,-3 0 4 0,-1 0-12 15,-2-1 4-15,-2 0 0 0,0 0-16 0,-3 1-20 0,-1-3-16 0,-1 2-28 0,-2-2-20 16,-1 1 4-16,-1 0 12 0,-2-2 12 0,1 1 4 0,-2 0 8 0,-2-1 8 15</inkml:trace>
  <inkml:trace contextRef="#ctx0" brushRef="#br0" timeOffset="118417.7731">2230 14443 35 0,'-6'-6'32'0,"2"-2"-4"0,0 1 0 0,1 0-4 0,0-1 4 16,-1 1-4-16,1-1 0 0,1 2-4 0,-2-1 0 0,2 0 0 0,0 1-4 16,0-1 0-16,1 2 4 0,0-1-4 0,1 2 0 0,0-1 0 0,1 0 0 15,-1 2 0-15,3-1 0 0,-1 2 0 0,3 0 0 0,-1 0 0 0,0 1 4 16,2 1 0-16,-1 1 4 0,3 1-4 0,0 0 0 0,1 1 0 0,0 1 0 0,2 1 4 15,0-1 0-15,0 2 0 0,3-1 0 0,-2 2-8 0,3 0 4 0,0 0 0 16,2 1 4-16,-2 0-4 0,3 0 0 0,-1 0 0 0,1 2-4 0,-1-2 0 0,2 1-4 16,0 0 0-16,-1 0 0 0,2 1-4 0,-1-1 4 0,-1 1-4 15,1-2 0-15,-2 1-4 0,2 0 0 0,-3 0 4 0,1-2-4 0,-1 1 0 0,-1 0 0 16,-2-1-4-16,0 0 0 0,0-1 4 0,-3 0-4 0,0-1 4 0,-1 0-4 15,0-1 0-15,-3 1-4 0,-1-1 0 0,-1-1-8 0,-1 0 0 0,-1-1-20 0,-1 1-4 16,-2-2-8-16,-1-1-16 0,0 2-12 0,-1-2-20 0,-2 0-20 0,-1-2 12 16,-1 1 12-16,0-2 12 0,0 0 0 0,-2 0 12 0,-1-2 4 0,1 0 12 15</inkml:trace>
  <inkml:trace contextRef="#ctx0" brushRef="#br0" timeOffset="120160.8728">1903 13025 11 0,'4'0'20'0,"0"-2"0"0,2 1 4 0,1 0-4 0,-2-1-4 15,3 1 0-15,-1 0 4 0,2 0-4 0,0 0 0 0,0 1 0 0,1-1-4 16,3 1 0-16,-2 0 0 0,2 0 0 0,0 1-4 0,2-1 4 0,1 2-4 0,1-1 0 15,1 2 4-15,1 0 0 0,0 1 0 0,2 0 0 0,1-1 0 0,1 3 0 16,0 0-4-16,2 1 8 0,1-2-8 0,0 4 0 0,0-3 4 0,2 2 0 0,-1 1 0 16,1 0 0-16,1 0-4 0,-1 0 0 0,0 1 0 0,2 1 4 15,-1-2-4-15,1 2 0 0,-1 0 0 0,1-1-4 0,0 1 4 0,-2 0-4 0,2-1 4 16,-1 1 0-16,0 0 0 0,0 0-8 0,0-1 4 0,-2 0 4 0,1 0-4 15,-1-1 4-15,0 2 0 0,-1-3-4 0,1 0 0 0,-2 0 0 0,-1 0 4 0,0-1 0 16,0 0 0-16,-1 0-4 0,-2-2-4 0,1 0 8 0,-1 1 0 0,-2-2-4 16,0-1-4-16,0 1 8 0,-2-2 0 0,1 1 0 0,-3 0 0 0,1-2-4 15,-3 1-8-15,1 0 8 0,-1-1 4 0,-3 0 0 0,1-1-4 0,-2 1 4 16,-1 0-8-16,1-1 16 0,-4 1-8 0,1-1-4 0,-1 0 4 0,-1 0 4 0,-1 0-8 15,0 0 4-15,0 0 0 0,-1 0 0 0,-1 0-4 0,1 0 4 0,-2 0-4 16,0-1 0-16,1 1 4 0,-1 0-4 0,0 0 4 0,0 0-8 0,-1 0 0 0,1-1 0 16,0 1-4-16,-1 0 0 0,-1 0 4 0,0 0-8 0,1 0-8 15,-3 0-4-15,2 1-12 0,-1-2-8 0,0 1-12 0,-1-1-12 0,1 1-24 0,-1-2-8 16,0 1 12-16,0-1 8 0,-1 0 8 0,0-1 8 0,1 1 4 0</inkml:trace>
  <inkml:trace contextRef="#ctx0" brushRef="#br0" timeOffset="120823.9108">2372 12711 11 0,'0'-2'40'0,"0"0"-4"0,0-1 0 15,-1 0 0-15,1 0-8 0,-1-1 8 0,0 0 0 0,0 0-4 16,-1 0 0-16,0-1 4 0,0 0 4 0,0 0-8 0,-1 0 0 0,0 0 12 0,-1-1-12 15,-1 2 4-15,1-2 0 0,0 0 0 0,-1 3-8 0,0-2-4 0,0 0 4 16,-2 0-4-16,1 2-4 0,0 0 0 0,0 0-4 0,-1 0 0 0,1 1 4 0,-1 0-4 16,1 1-4-16,-1 1 0 0,-1-2 0 0,0 4-4 0,1-2 0 15,-1 1 0-15,0 1 0 0,0 0 0 0,1 2-4 0,-2-1 4 0,1 1 0 0,0 0-4 16,0 1 0-16,1 0-4 0,-1 0 4 0,0 1-8 0,2 0 4 0,-1 1 4 0,0-1 0 15,2 1 4-15,-1 0-4 0,1 1 0 0,0-1-4 0,1 0 4 0,-1 0-8 16,2 1 4-16,0-1 0 0,0 1 8 0,1-1-8 0,1 0 0 0,0 0 0 0,0-1 0 16,1 1-4-16,1-1 8 0,0 0-4 0,0 0 0 0,2-1-4 15,0-1 4-15,1 0 0 0,2-1-4 0,0 1 8 0,0-1-4 0,1-1 0 0,1-1 0 16,2 0 0-16,0 0 0 0,2-2-4 0,-2 0 4 0,2 0-8 0,1-1 8 15,0-1 0-15,-1 1 0 0,2-1-4 0,0-1 0 0,0 0 4 0,0-1 0 0,0 2 0 16,-1-2 4-16,1 0 0 0,-1 0-4 0,0 1 0 0,0-1-4 0,0 0 0 16,-1 0 0-16,0 1 0 0,-2 0 0 0,2 1 4 0,-2-1 0 0,-1 0 0 15,0 2 0-15,-2 1 4 0,0-1-4 0,-1 2 4 0,0 0 0 0,-2 1 0 16,0 0-8-16,-1 1 8 0,-1 2-8 0,0-1 8 0,0 0-4 0,-1 2 0 0,1 0 4 15,-1 0-4-15,0 0 0 0,0 1 0 0,0 0 0 0,0 1 4 0,1-1-4 16,-1 1 4-16,2 0 0 0,-1 1-4 0,-1-2 0 0,2 0 0 0,-2 3 0 0,2-3-4 16,-1 1 4-16,0-1 0 0,0 0 0 0,1 1 0 0,-1-2 0 15,1 1 0-15,0-2 4 0,0 1-4 0,1 0 0 0,-2-1 0 0,1-1 0 0,0 0 0 16,-1 0 0-16,2-1-4 0,-2 1 0 0,0-2 0 0,2 0 0 0,-2 1-8 15,2-2-16-15,-2 0 4 0,1 0-16 0,-1 0-4 0,0-2-4 0,-1 1-12 0,1 0-4 16,0 0-20-16,-1-2-16 0,0 1 4 0,0-1 12 0,0 0 12 0,0 1 8 16,-1-1 4-16,0 0 8 0</inkml:trace>
  <inkml:trace contextRef="#ctx0" brushRef="#br0" timeOffset="121071.925">2665 12767 19 0,'1'-2'36'0,"0"-1"-4"0,0 3-8 16,0-2 0-16,-1 0 0 0,0 2-8 0,0-2 4 0,1 1-4 0,0 1-4 0,0 0 0 15,0 0 0-15,0 0 0 0,1 1 4 0,0 0-4 0,0 0 0 0,1 0 0 16,1 2 0-16,-1-3-4 0,3 3 4 0,-2-1-4 0,2 0 0 0,-1 1 0 0,2 0 0 16,0 0 4-16,1-1-4 0,0 2 0 0,0-1-4 0,1 0 0 0,0 0 0 15,0 1 4-15,1-1 0 0,0 1-4 0,0-1 0 0,1-1 0 0,-2 1 0 0,1 1 0 16,0-2 0-16,-1 1-4 0,0-2 0 0,0 2 0 0,0-1 0 15,-1 0 4-15,0-1-4 0,-2 1 0 0,2-2 0 0,-2 1 0 0,0-1 0 0,-1 0-4 16,0 0 0-16,-1 0-4 0,-1 0 0 0,0-1-4 0,-1 1-4 0,0-3-8 16,-1 1 0-16,-1 1-12 0,0-2-16 0,-2 1-12 0,1-2 4 0,0 1 4 15,-2 0 4-15</inkml:trace>
  <inkml:trace contextRef="#ctx0" brushRef="#br0" timeOffset="121306.9384">2851 12638 35 0,'0'-1'32'0,"2"1"0"0,0 0-4 0,-1 0 0 0,1 1 0 16,0 1 4-16,0 1 0 0,1-2-8 0,-2 3 4 0,2 0 0 0,-2 1 0 15,1-1 4-15,0 0-4 0,-1 2-4 0,1 0 4 0,-1-1 0 0,0 2-4 16,-1-2-12-16,1 2 12 0,-1 1-8 0,0-1 4 0,0 1-4 0,-1 1-8 0,1-1 4 16,-1 1 0-16,-2-1-8 0,2 1 4 0,-1 1 8 0,-1-2-8 15,1 1 0-15,0 1-4 0,-1-2-4 0,0 2 12 0,0 0-12 0,-1-3 4 0,0 2-8 0,0-2 8 16,1 2-8-16,-1-2 0 0,0 0 4 0,1 0 0 0,0-1 4 15,-1 0-12-15,1 0 4 0,1-1 4 0,-3-1 0 0,3 1 0 0,-1-1-8 0,1 0 0 16,0-2 0-16,1 1 0 0,0-1 0 0,-1-1-12 0,1-1-8 0,1 0-4 16,0 0-12-16,0-1-4 0,0-1-16 0,0 0-16 0,1-1 0 0,0-1 12 15,0 0 8-15,1-1 8 0,-2 1 4 0</inkml:trace>
  <inkml:trace contextRef="#ctx0" brushRef="#br0" timeOffset="121740.9632">3052 12577 35 0,'11'-8'40'0,"-1"3"-4"0,0 0-4 0,1-1 0 15,-1 3 4-15,-1-1-4 0,1 2 0 0,-2 1 0 0,0 0-4 0,-1 2 0 16,-1 0 0-16,0 2 4 0,-1 1-4 0,-2 2 4 0,0-1-4 0,-2 2-4 16,0 1-8-16,-1 0 0 0,-1 1 8 0,0 2 4 0,0-1-12 0,-2 0 4 0,1 2-8 15,-1 1 4-15,0-1 0 0,0 2 0 0,-2-1 4 0,1 1-4 0,0 0-4 16,0 1-4-16,-1-1 0 0,0 1 0 0,-1-1-4 0,0 1 4 0,1-1 4 15,-1-2-8-15,1 1 0 0,0 1 0 0,-2-3 0 0,2 0 0 0,0 0 0 0,0-2 0 16,1 1 0-16,0-2 0 0,-1 0-4 0,1 0 4 0,1-2 0 0,-1 1 0 16,2-2-4-16,-1-1 4 0,1 1 0 0,0-1-4 0,1-3 8 0,0 1-8 15,0-1 0-15,1-1 0 0,0 0 0 0,1-1 0 0,0-1 0 0,2 1 4 16,0-2-4-16,1 0-8 0,0 0 8 0,2-1 0 0,2 1 4 0,-2-1-12 0,2 1 0 15,1-1 8-15,1 0 0 0,-1 0 4 0,0 1-4 0,3 0 0 0,-2 1 0 16,1-1 0-16,1 1 0 0,0 0 0 0,0 0 0 0,-1 1 0 0,0 0 0 16,2 1 0-16,-2 0 0 0,0 1 0 0,0-1 0 0,0 3 0 0,-1-2 0 0,1 2 0 15,-3 0 4-15,1 0-4 0,-1 2 0 0,-1-1 4 0,-1 0-4 0,-1 2 8 16,-1-2-4-16,0 2-8 0,-1 0 12 0,-1-1-8 0,-2 1 4 0,0-1-8 15,-1 1 8-15,-1 0 0 0,-1 0 0 0,0 0 4 0,-1 0 0 0,-1 0-8 0,0 0 0 16,-1 0 4-16,-2 0 4 0,0-1-8 0,-1 1 0 0,0 0 0 0,-2-1 4 16,1-1 0-16,-2 1 0 0,0-1-4 0,-1 1 0 0,0-1 0 0,0-1 4 15,-1 1 0-15,1-1-8 0,-1 0 0 0,-1-2 0 0,0 2 0 0,0-2 4 16,1-1-16-16,-1 1-4 0,2-2-12 0,-2 0-16 0,1-1-16 0,0 0-32 0,2-2-16 15,0 0 8-15,-1-1 12 0,3 0 12 0,-1-2 4 0,2 0 8 0,0 0 8 16,1-1 4-16</inkml:trace>
  <inkml:trace contextRef="#ctx0" brushRef="#br0" timeOffset="123853.084">2265 12115 7 0,'-2'-3'32'15,"0"0"-12"-15,0 0 4 0,0 1 0 0,1 0-8 0,-1 0 0 0,1 0 0 16,-1 0 0-16,2 0 0 0,-1 1-4 0,0 1 4 0,0-2 0 0,1 1 0 0,0 1-4 16,1 0 0-16,0 0 0 0,0 0 4 0,1 1 0 0,1 0 0 0,-1 0 0 15,2 0 0-15,0 2 0 0,1-1-4 0,-1 1 4 0,1-1-4 0,1 1 0 0,1 0 4 16,-1 1 0-16,1-1-4 0,0 2 8 0,2-2-8 0,-1 1 4 15,1 1 0-15,0 0-8 0,2 0 0 0,-1 0 12 0,1 0-12 0,1 1 12 0,1 0 0 16,1-1-8-16,-1 1 4 0,3 1 0 0,-2-1-8 0,4 0 8 0,-2 1-8 16,2 0-4-16,0 0 8 0,2-1 0 0,1 1-8 0,-1 0 4 0,3 0-4 0,0 1 4 15,0 0 0-15,1-1-4 0,1 1 12 0,2 0-8 0,0 0 0 0,2 1 4 16,0 0-4-16,0-2 0 0,3 3 4 0,-1-1-4 0,1 0 0 0,1 1-4 15,0-2 4-15,0 3-4 0,0-2-4 0,0 1 8 0,0 0-8 0,0 0 4 16,-2 0 0-16,1 0 8 0,-1-1-4 0,-1 1-8 0,-1 0 4 0,0 0 4 0,-1-1-4 16,-2 0-4-16,1 0 4 0,-2 0 4 0,-1 0-4 0,-1 0 4 0,-1-1 0 15,0 0 0-15,-3-1 0 0,1 0 0 0,-4 0-4 0,1 0 4 0,-2-1 0 0,0-1-4 16,-3 0 0-16,2 1 0 0,-4-1 4 0,0-1 4 0,1-1 0 0,-3 1-4 15,0-2 0-15,1 1 0 0,-3 0 4 0,1-1 0 0,-2-1 0 0,1 1 0 16,0-1 4-16,-1-1-4 0,-1 1 0 0,0-1 0 0,0 0-4 0,0-1 4 16,-2 1-4-16,0-1 0 0,0-1 0 0,2 1 0 0,-4-1 0 0,1-1-4 0,0 2-4 15,-2-1 4-15,1-1-8 0,-1 0-8 0,0 0 4 0,-2 0 0 0,1-1-8 16,-1 1-8-16,0-1-12 0,0 1-16 0,-1-1-8 0,-1 0-8 0,1 0-8 15,-2 0-16-15,2-1-32 0,-2 2 8 0,0-2 12 0,0 1 12 0,1-2 16 0,-3 3 4 16,1-1 8-16,1 1 8 0,-1-1 4 0</inkml:trace>
  <inkml:trace contextRef="#ctx0" brushRef="#br0" timeOffset="126719.248">3095 11915 19 0,'0'0'32'0,"0"0"4"0,0-1-4 0,0 1-4 0,-1 0 0 16,1-2 4-16,-1 1 0 0,0 0 0 0,1-2 0 0,-2 2-4 0,1-1 8 15,1-1-4-15,0 0-4 0,0-1 8 0,-1 1-12 0,0-1 8 0,1 1 4 16,0-1-4-16,0 0-4 0,-1 0 8 0,1-1-8 0,0 2 4 0,0-2 0 15,-1 0-4-15,1-1-4 0,0 1 8 0,0 0-4 0,-1 0 0 0,0 0-4 0,1 0 0 16,-2 0-4-16,1 1 0 0,-1-1 0 0,0 0-4 0,-1 2-4 0,0-1 0 16,-2 1-4-16,1 1 0 0,-3-1 0 0,1 3 0 0,-2 0 0 0,0 0 0 0,-1 2-4 15,0 0 0-15,-1 1 0 0,-2 1 0 0,2 1 0 0,-1 1 0 0,-1-1 0 16,1 2-4-16,-2 2 4 0,2-1 0 0,-1 0-4 0,0 1 0 0,0 1 4 15,2-1-4-15,-2 2 0 0,2-1 0 0,0 2 0 0,0 0 0 0,1-1 0 16,1 0 0-16,0 1 4 0,1-2-4 0,2 1 0 0,1 0 4 0,0 0-4 0,3-1 0 16,0-1 0-16,2 0 0 0,0 0 0 0,3-3 0 0,0 1 4 0,1-1-4 15,2-1 4-15,2 0 0 0,0-2-4 0,1 1 4 0,2-2-4 0,-2-1 0 0,3 0 0 16,0 0 0-16,0-1 0 0,2-1-4 0,-1 0 0 0,1 0 4 15,-1 0 0-15,1 0 0 0,0-1 0 0,0-1 0 0,0 2 0 0,0 0 0 0,-1-2 0 16,1 1 4-16,-2 0-4 0,0 0 0 0,1 1 0 0,-2-1 0 0,1 1 0 16,-2 1-4-16,0-2 4 0,0 2 0 0,-2 2 0 0,-1-2 0 0,1 2 0 0,-2 0 0 15,-1 1 0-15,0 0 0 0,-1 0 0 0,0 0 0 0,-1 2 0 0,-1 0 0 16,1 0 0-16,-2-1 0 0,0 2 0 0,0-1 0 0,0 1 4 0,-1 1-4 15,1-2 0-15,0 2 0 0,-2-1 0 0,2 0 0 0,-1 0 0 0,0 0-4 0,0 0 0 16,-1 1 0-16,2-2 0 0,-1 0 0 0,-1 1 0 0,1-2-4 0,0 2-4 16,-1-2 4-16,0 0 0 0,1 1-8 0,0-2-4 0,0 0-8 0,0 0-4 0,0-1-8 15,0 0 4-15,0-1-12 0,0-1-8 0,0 0-4 0,0 0-8 0,0 0-12 16,0-1-12-16,0-1 0 0,0-1 4 0,-1 0 12 0,0-1 8 0,0 1 4 15,-1-2 8-15,-1 0 12 0</inkml:trace>
  <inkml:trace contextRef="#ctx0" brushRef="#br0" timeOffset="127160.2732">2597 11475 11 0,'-8'-6'36'15,"2"2"0"-15,-2-1-4 0,3 0 0 0,-3 1-8 0,2 0 4 0,1 0-8 0,1 1 0 16,-1-1-4-16,1 0 0 0,0 1 0 0,2 0-4 0,1 0 4 0,1 2-4 15,0 0-4-15,2 0 4 0,1 0 0 0,3 1 0 0,-1 1 4 0,2 0-4 16,1 1 4-16,3 0-4 0,0 1 4 0,3 0-4 0,0 1 4 0,2 1 0 0,3-1-4 16,1 2 4-16,1 1 0 0,4 0 0 0,1 1 0 0,3 0 0 0,2 3-8 15,2-2 8-15,2 3 0 0,2 0-4 0,3 1-4 0,0 1-8 0,1 0 0 0,2 1 4 16,1 1 8-16,0 0-4 0,0 1-4 0,0 0 0 0,2 1 0 15,-3 0 0-15,2 1 4 0,-1 0-8 0,-1 0 8 0,-2 0 4 0,0-1-4 0,-1 2 0 16,-1-1-8-16,-2 1 8 0,-1-2-4 0,-1 1 8 0,-2-1 0 0,-3 1 0 16,-1-3 4-16,-2 0-4 0,-2 1-4 0,-3-2 0 0,-2 0 4 0,-1-1 4 0,-2-1-8 15,-2 0 0-15,-1-2 4 0,-2-1 0 0,-2 1 0 0,0-2-4 0,-1 0 0 16,-3-1 0-16,1-1 4 0,-2-2-8 0,1 1 4 0,-1 0 0 0,-2-2-4 15,0-1 0-15,0 0-4 0,0-1 4 0,-2 0 0 0,1-1-8 0,-1-1 4 16,0-1-4-16,0 0-8 0,-2-1 0 0,0-1-20 0,0 0 0 0,-1 0-20 0,-1-2-12 16,1 0-16-16,-2-1-32 0,-1 0 8 0,1-2 8 0,-3 0 16 0,1 0 4 15,0-1 8-15,-1-1 8 0,0 0 8 0</inkml:trace>
  <inkml:trace contextRef="#ctx0" brushRef="#br0" timeOffset="127630.3001">3292 11269 23 0,'1'-2'32'0,"1"-1"0"0,-1-3-4 0,-1 3 0 0,1-1-4 0,-1 0 0 16,0 0-4-16,-1-2 4 0,0 2-4 0,-1 0-4 0,-1-1 0 0,0 0 4 0,-1 0-4 15,0 1 0-15,-3-1 0 0,2 1 0 0,-2 1-4 0,1 1 0 0,-4-1 0 16,2 1 0-16,0 2-4 0,-1 0 0 0,-2 0 0 0,1 1 4 0,0 1 0 15,0 1-4-15,0 1 0 0,0 0-4 0,-1 3 4 0,1-1 0 0,1 1 4 16,-2 1-4-16,3 1 0 0,0 0 4 0,1 1 0 0,0 1 4 0,1 0-8 0,2 0 8 16,2 1-8-16,0 0 4 0,1 1 4 0,3 0-12 0,0 0 12 0,2 0-8 15,2 0 8-15,3 0-4 0,-1 0-12 0,2 0 0 0,2-1 4 0,1 0 4 0,1-1-4 16,2 0 0-16,-1-1 4 0,3 0-4 0,1-1 0 0,-1 1-8 0,1-3 8 15,1 1-4-15,-1-1 0 0,0-1 8 0,0 0-4 0,1-1-4 0,-1 0 0 16,-1-1-8-16,1 0 4 0,-3-2 0 0,2 1-8 0,-3-1-4 0,0 0-8 0,-2-2-12 16,1 1-8-16,-3-1-20 0,0-1-24 0,-3 0 0 0,0-1 8 0,-1-1 12 15,-2 0 8-15,1 0 8 0,-4 0 0 0</inkml:trace>
  <inkml:trace contextRef="#ctx0" brushRef="#br0" timeOffset="128165.3307">2625 10542 23 0,'-6'-3'28'0,"0"0"0"0,1 0 0 16,1 1-4-16,1 0-4 0,0 1 4 0,1-1 0 0,2 2-4 0,1 0 0 15,0 2 0-15,4-1 0 0,0 1 4 0,0 0 0 0,3 2-4 0,2 0 4 16,0 1 0-16,3 0-8 0,2 1 8 0,0 1 0 0,4 1-8 0,1 0 0 0,1 1 0 16,4 1 4-16,1 2 0 0,2-1-4 0,4 1-4 0,0 1-12 0,2 1 8 15,3 1-8-15,1 0 8 0,3 1-8 0,-1 1 4 0,2-1 12 0,2 2-4 0,-1-1 0 16,2 1-4-16,0 1-4 0,0-1 4 0,0 1 0 0,1 0 0 15,0-1-16-15,0 1 4 0,-2 1 8 0,2-2-4 0,-2 1-4 0,0-2 8 0,0 1-4 16,-3 0 8-16,0-2-12 0,-1 1 0 0,-3 0 12 0,0-2-4 0,-4 1 0 0,-1-2 0 16,-1 0 0-16,-2 0 8 0,-2-1-8 0,-2 0 0 0,-1-3 4 0,-3 1-4 15,-1 0-8-15,-1-3 8 0,-3 2 0 0,1-2-8 0,-3-1 8 0,-1-1 4 0,-2 1-4 16,-1-2 0-16,0 1 8 0,-2-2-8 0,-2 0 0 0,-1-1-4 15,-1 0 4-15,0-1 0 0,-3 0-4 0,2 0 0 0,-3-2-4 0,-1 0-8 0,-2 0 12 16,0-1-4-16,0 0-16 0,-1-2-16 0,-2 1-12 0,0 0-28 0,0-4-24 16,-3 2 8-16,0-1 8 0,0-1 12 0,-1 0 4 0,0-1 8 0,-1 0 8 0</inkml:trace>
  <inkml:trace contextRef="#ctx0" brushRef="#br0" timeOffset="128627.3571">3509 10501 19 0,'0'-5'28'0,"-1"1"0"0,0-1-8 0,-1 0 4 0,-1 1-4 16,-2 0 0-16,1-1-4 0,-3 2 0 0,-1-1-4 0,1 0 4 0,-2 2-4 15,-2-1-4-15,1 1 4 0,-4 1 0 0,3 0 0 0,-2 1 0 0,-1 1-4 0,1 1 0 16,-2 0 0-16,1 2 0 0,0 0 0 0,1 1-4 0,1 1 4 15,-2 0 0-15,2 1 0 0,1 0 4 0,0 1 4 0,2 1-4 0,0 0 4 0,2 1-4 16,1 0 0-16,1 0 0 0,2 1-4 0,3-1 0 0,0 0 4 0,2 1-4 16,2-1 0-16,3 0 0 0,1 0 0 0,2-2 0 0,1 1-4 0,3-1 4 0,0-1 0 15,0 0 0-15,4-1 0 0,0-1-4 0,-1 0 4 0,3-1 0 0,-2-1-4 16,2-1 0-16,1 0 0 0,-3-1-8 0,2 0 8 0,0-2-4 0,-2 0-4 15,1 1 0-15,-2-2 4 0,1-1-4 0,-2 0 0 0,1-1-8 0,-3 0 0 0,0 0-8 16,-2-2-12-16,0 1-8 0,-2 0-16 0,-2 0-20 0,2-3 4 0,-4 1 4 16,0 0 8-16,-1 0 4 0,-2-2 8 0</inkml:trace>
  <inkml:trace contextRef="#ctx0" brushRef="#br0" timeOffset="128925.3741">3994 9802 7 0,'1'-3'36'0,"-1"2"-4"0,0 1-4 0,-1 1 4 0,0 2 0 16,-3 1 0-16,2 2 0 0,-3 1 0 0,0 2 4 0,-1 1 0 0,0 2 4 0,0 1-8 15,-2 2-4-15,-1 0 12 0,0 3-8 0,0 1 0 0,-3 1-4 0,1 1 0 16,-1 1 4-16,0 0-4 0,1 3-4 0,-2 2 8 0,-1 0-4 0,0 2 0 15,1 1-4-15,-1 0-4 0,1 2 0 0,0 0 0 0,0 0 0 0,0 1-4 16,-1-1 0-16,3 2 0 0,-1-2 0 0,0 0-4 0,1 0 0 0,0-2 0 0,2-1-4 16,-1 0 0-16,2-1 4 0,-1-1-4 0,2-1 0 0,0-1 0 0,1-2 0 15,0-2 0-15,2 0-4 0,0-2 0 0,0 0-4 0,2-4 0 0,0 1 0 16,1-3 0-16,-1 0-4 0,1-1 0 0,1-2-8 0,0-2 0 0,-1 0-28 0,1-2-12 15,1-2-16-15,-1 0-20 0,0-3-32 0,0 1 8 0,0-2 8 0,0-3 12 16,-1-1 8-16,0 2 8 0,0-4 12 0,-1-1 8 0,0-1 4 0</inkml:trace>
  <inkml:trace contextRef="#ctx0" brushRef="#br0" timeOffset="129639.415">3011 8704 7 0,'4'-9'36'15,"-1"2"-4"-15,0 0 0 0,0 1 4 0,1 1-4 0,-1-1-4 0,0 2-4 0,-2-2 0 16,2 3-4-16,-2 1 0 0,1-2 0 0,-1 1-4 0,0 1 4 0,-1 1-4 16,0-1 0-16,0 2 4 0,-2 0 4 0,0 0-4 0,0 2 0 0,-1-1 12 0,-2 4-4 15,1-1 4-15,-1 1-8 0,0 3 0 0,-1 1 0 0,-1 1 0 0,-2 2 0 16,0 1 4-16,0 2-4 0,-3 3 4 0,0 0 0 0,0 4 0 0,-3 0 0 15,-1 3-4-15,0 3 0 0,-3 1 0 0,1 2 0 0,-3 2 0 0,-1 2-4 0,0 1-4 16,-1 1 4-16,-1 1-4 0,-1 1 0 0,1 1-4 0,-1 1 4 0,1 1-4 16,0-1 4-16,-1 2-4 0,2-1 4 0,-1 2-4 0,1-1 0 0,0 1 0 0,1-1 0 15,1 1-4-15,0-1 4 0,2-1 0 0,0 0 0 0,0-1 0 16,2-1 0-16,2-3-4 0,0 1 4 0,2-3-4 0,-1-1-4 0,4-1 4 0,-1-2-4 15,2 0 0-15,2-2 0 0,0-2 4 0,0-1 0 0,3 0-4 0,-1-2-4 16,2 0 4-16,0-2-4 0,-1 0 4 0,2-2 0 0,-1 0-4 0,2-1 0 0,-1-3 0 16,0 0 0-16,0-1 0 0,1-1-4 0,0-1 4 0,0-2-4 0,1 0 4 15,0 0 0-15,-1-2 0 0,1-1 0 0,-1 0 0 0,1-1 4 0,0-1-8 16,-1-2 0-16,2 0 0 0,-1 0-4 0,0-1 0 0,1-1-4 0,0-1-4 15,-1-1-8-15,1 0-12 0,0-1-8 0,1-2-8 0,-1 0-12 0,3-1-16 0,-3 0-16 16,2-2-28-16,-1 1 0 0,1-2 12 0,0 0 12 0,0-3 12 0,1 2 4 16,0-2 12-16,0 0 8 0,2 1 8 0</inkml:trace>
  <inkml:trace contextRef="#ctx0" brushRef="#br0" timeOffset="130356.456">4630 9768 3 0,'2'-2'32'15,"0"1"0"-15,-1-1-4 0,0 4 0 0,1-1 4 0,-1 2-4 0,0 2 4 16,-1 0-8-16,0 3 8 0,0 0-4 0,-1 2 4 0,-1 2 4 0,0 0-4 0,0 3 4 15,-2 1 0-15,0 0 0 0,0 3-16 0,0 0 8 0,-1 2-8 0,-1 1 8 16,-1 0-8-16,0 3 8 0,1 1-8 0,-1 0 4 0,-1 2-4 0,-1 0 0 0,1 2-4 16,-1 1 0-16,-1-1 4 0,0 2-12 0,1 0 8 0,-3 0 0 0,2 0-4 15,1 1 0-15,-3 1-4 0,1-2 0 0,1 1 0 0,-2 0 0 0,1-1 4 16,1 0-4-16,-1 0 0 0,0-1 0 0,1-1 0 0,0-1 0 0,1 0 0 15,0 0-4-15,-1-1 4 0,2-2-4 0,1 1 4 0,0-2-4 0,0 0 0 0,1 0 0 16,0-2 0-16,1 0 0 0,0 0 0 0,1-2 0 0,0 0 0 0,1 0 0 16,-1-2 0-16,2-1 0 0,0 1 0 0,0-3 0 0,0 1-4 0,1-3 0 0,0 1 0 15,1-1 0-15,-1-1 0 0,1-1 0 0,0-1 0 0,0 0 0 16,0-1 0-16,0-2 0 0,0 1 0 0,0-1-4 0,0-2 4 0,0 0 0 0,0 1-4 15,0-2 4-15,0 0 0 0,-1-2-4 0,1 1 0 0,0-1-4 0,0-1-8 16,-1 0 0-16,1-1 0 0,0-1-16 0,0-1-12 0,0 0-8 0,0-2-8 0,0 1-24 16,0-2-24-16,1 0 4 0,0-2 8 0,0-1 12 0,0 0 12 0,0-2 4 15,2 0 8-15,-2-1 8 0</inkml:trace>
  <inkml:trace contextRef="#ctx0" brushRef="#br0" timeOffset="131948.5471">8861 6390 11 0,'0'2'28'0,"1"1"-4"0,0-1-4 16,1 1 0-16,0 0 0 0,-1 1-4 0,2-1 4 0,-1 2 0 0,2-2 0 15,1 1 0-15,-2-1-4 0,2 2 0 0,-1 0 0 0,2-1 0 0,-1 1 0 0,3 0 0 16,-1-1-4-16,1 2 0 0,0-2 0 0,2 1-4 0,-1 0 0 0,2 1-4 16,0-1 4-16,0 1 0 0,1 0-4 0,1-2 0 0,0 2 0 0,0-1 0 0,0 1 0 15,0-1 0-15,2 1 0 0,-2-1-4 0,2 0 4 0,-2-1-4 16,1 1 0-16,-1 0 4 0,1-1 0 0,-3 0-4 0,1 1 4 0,0-3 4 0,-2 2 0 15,0-1 0-15,1 0 0 0,-3-1 0 0,-1 0 0 0,0 1-4 0,0-3 4 16,-3 1-4-16,0 0 0 0,-3-1 0 0,0-1-4 0,-2 0 4 0,0 1 0 0,-3-2-4 16,0 1 0-16,-4-1 4 0,1 0 4 0,-2 0-8 0,0-1 8 0,-2 1-8 15,-1-1 4-15,1 1-4 0,-2-1 0 0,0 0 0 0,0 1 4 0,1-1 0 16,-2-1 0-16,1 1 0 0,1 1 0 0,-2-2 0 0,2 2-4 0,-2-1 4 15,3 1 4-15,-1 0-8 0,1-1 8 0,0 1 0 0,1 0-8 0,0 0 4 0,2 1 0 16,1 0-4-16,2 0 8 0,0 1-4 0,1-2-4 0,2 2-4 0,2 0 8 16,0 0 4-16,2 0-8 0,1 2 0 0,2-1 4 0,0 0-4 0,1 2 8 0,1-1 0 15,1 1-4-15,1 0 0 0,1 2-8 0,0-2 0 0,2 3 8 16,0-1-8-16,0 0 12 0,1 2-12 0,1-1 4 0,1 1 4 0,-1 0-4 0,2-1 0 15,-1 2-4-15,1 0 4 0,-1-1-4 0,2 0 4 0,-3 1 0 0,3-1-4 16,-3 1 12-16,2-1-4 0,-2 0-4 0,0 0 0 0,-2 0 8 0,1-1 0 0,-1 0-4 16,-2 0-4-16,2-1 4 0,-3-2 0 0,-1 2 0 0,0-3 0 0,0 1-4 15,-3-1 8-15,0-2-8 0,-2 0 4 0,-1 0 0 0,-1-2-4 0,-1 1 4 16,-1-3 0-16,-2 1 0 0,-1-1-4 0,-1 0 0 0,-1-1-4 0,-2 1 12 0,0-1-8 15,-1-1 8-15,0 0-4 0,-2 0-4 0,0 0-4 0,2 0 8 0,-2 0 0 16,0 0-4-16,0 1 4 0,1-2 0 0,1 2-8 0,-2-1 8 0,2 2-4 0,-1-2 4 16,1 2-4-16,-1-1 8 0,2 1-8 0,0 1 8 0,-1 0-4 0,2-1 4 15,1 2-8-15,1 1 0 0,0-2 4 0,1 2-4 0,0 0 0 0,2 0 0 16,1 1 0-16,0 0 4 0,2 0-4 0,-1 0 4 0,1 1-4 0,1 0 4 15,1-1-4-15,0 2 0 0,-1 0 0 0,1-1-4 0,-1 0 12 0,1 0-12 0,-1 1 4 16,1 0 4-16,-1-1-4 0,0 0 0 0,0 0 0 0,1 1 4 0,-1-1-4 16,1 0 0-16,-2 0 4 0,2 0-4 0,-2 0-4 0,1 0 8 0,0 1-8 0,-1-2 4 15,0 2 0-15,1-1-4 0,-1-1 8 0,0 1 0 0,0-1-4 16,-1 0 4-16,1 2-4 0,0-2 0 0,-1 0 0 0,0 0 0 0,0 0 0 0,0 0 8 15,0 1-4-15,0-1-8 0,0 0 0 0,1 1 4 0,-1-1 0 0,0 0-4 16,1 0 4-16,-1 0 0 0,1 0 4 0,-1 2 0 0,1-2-8 0,-1 0 12 0,1 1-8 16,-1-1 4-16,0 1-8 0,1 0 4 0,0-1 4 0,0 0-12 0,-1 1 16 15,1-1-8-15,-1 1 0 0,1-1-4 0,1 1 8 0,-1 0-8 0,0-1 0 16,0 1 4-16,-1-1 0 0,0 1 8 0,1 0-4 0,-1-1-8 0,1 0 8 15,-1 1-4-15,0-1-4 0,1 0 12 0,-1 1-8 0,0-1 4 0,0 0 0 0,0 0 0 16,0 0-8-16,1 0 4 0,-1 0 8 0,0 0-8 0,0 0 0 0,0 0 0 16,0 0 4-16,-1-1 4 0,1 1-8 0,0 0 0 0,0 0 0 0,0 0 0 0,0-1-4 15,-1 1 0-15,1 0-4 0,0-1 0 0,0 0-12 0,0 1 0 16,0 0-20-16,0 0-12 0,-1 0-24 0,1-1-32 0,-1 0 12 0,-1 0 8 0,-1 1 8 15,1 0 8-15,-1-1 4 0,-1 0 12 0</inkml:trace>
  <inkml:trace contextRef="#ctx0" brushRef="#br0" timeOffset="132913.6023">3486 10378 27 0,'-2'-4'44'0,"1"2"-8"15,1-2 0-15,-1 1-4 0,0 0 0 0,0-1-8 0,0 2 0 16,0-1 0-16,1 1-4 0,-2 0 0 0,1-1-4 0,0 1 0 0,-1 1 0 0,0 0 0 15,1 1 4-15,-1-2-4 0,0 2 8 0,1 2 0 0,-1-2 4 0,-1 2-4 16,3 0 0-16,-1 1 8 0,0 1-8 0,1 0 4 0,1 2-4 0,0 0 0 0,2 1 0 16,0 1 4-16,-1 1-8 0,2-1 4 0,0 3 0 0,1 0-4 0,1-1 4 15,1 3-8-15,0-2 4 0,0 2 0 0,2 0 0 0,1 1-8 0,-1 0 0 16,1 1 0-16,2 0 4 0,-1 1-4 0,1-1-4 0,1 0 0 0,0 1 0 15,1 0 0-15,-1 0 0 0,2 0 0 0,-2-1-4 0,1 1 0 0,1-1 0 0,-1 0 0 16,0 1 4-16,-1-2-4 0,2 0 4 0,-3 0-4 0,0-1 0 0,0 0 0 16,-2-1 0-16,1-1 0 0,-1 0 0 0,-2-1-4 0,0-1 4 0,1 0 4 0,-3-1 0 15,0 0-4-15,-1-2-4 0,0 0 4 0,0 0 0 0,-2-1 0 0,0-1-4 16,-1 0 0-16,-1-1 0 0,0-1 0 0,0 0-4 0,-2 0-4 0,0-1 0 15,0-1-12-15,-1 0-8 0,-1-1-12 0,0-1-12 0,-2 1-16 0,1-2-12 0,0 1-32 16,-1-1-8-16,-1 0 8 0,0 0 16 0,0 0 8 0,-1 0 12 0,0 0 8 16,0 1 8-16,-2-1 8 0</inkml:trace>
  <inkml:trace contextRef="#ctx0" brushRef="#br0" timeOffset="133450.633">2973 11306 15 0,'0'-5'40'0,"-1"2"-4"0,-1-2 0 16,1 1-4-16,1 1 0 0,-2-2-4 0,1 2 0 0,0 0-4 0,1-1-4 15,-1 1 0-15,1 0-4 0,0 2 4 0,1-2-4 0,-1 0 4 0,2 2-4 16,0 0 0-16,1 0 0 0,-1 1-4 0,2 1 4 0,1 0 0 0,0 0-4 15,2 2 0-15,1 0 0 0,1 1 0 0,0 1 0 0,3 0 4 0,0 0-12 0,0 3 12 16,3-2 0-16,0 2 0 0,2 1 0 0,-1-2 0 0,2 2-8 0,1 1 0 16,-1-1 4-16,3 2-8 0,-1-1 4 0,0 1 0 0,2 0 4 0,-1 1 0 0,0-1-8 15,0 2 8-15,1-2 4 0,-2 1-12 0,1-1 8 0,-1 1 0 16,0 0-4-16,0-1 12 0,-1 1-12 0,-2-2 4 0,0 0-4 0,-1 0 4 0,0 0 8 15,-2 0-12-15,-1-2 0 0,-1 0 4 0,-1 0-4 0,-1 0 0 0,-1-1 8 16,-2-1-4-16,1 0 4 0,-2-1 0 0,0 1 0 0,-2-2 0 0,0 0-4 0,-1 0 0 16,0-1 0-16,-1 0 0 0,-1-1-4 0,-1-1 0 0,0 0-4 0,0 0 0 15,-1-1 0-15,0-1 0 0,-2 0-4 0,2 0 0 0,-2 0-4 0,1-2-12 16,-1 1 8-16,-1 0-4 0,0-1 0 0,1-1-16 0,-2 2-8 0,0-2-8 0,1 1-12 15,-1-2-8-15,1 1-16 0,-1-1-16 0,-1 0-16 0,1 0 12 0,0-1 12 16,0 1 12-16,0-1 8 0,0 1 8 0,1-1 4 0,-2 1 8 0</inkml:trace>
  <inkml:trace contextRef="#ctx0" brushRef="#br0" timeOffset="134554.6961">2972 9508 3 0,'0'2'32'0,"1"-1"-4"15,0 0-4-15,1 0 0 0,0 0 0 0,0 0 0 0,0 0-4 16,2 1 0-16,-1-1 0 0,1 1-4 0,0-1 4 0,2 2 0 0,0 0 0 0,0 0 0 15,2 0 0-15,1 1 4 0,0 0 0 0,2 1 0 0,1 0 0 0,1 1-4 16,3 0 4-16,-1 2-4 0,3-1 4 0,1 2 0 0,1-1-8 0,3 2 0 0,0 0 4 16,1 2-8-16,3-2 0 0,1 2 4 0,1 0-8 0,2 1 4 0,0 1-4 15,3 0 4-15,1 1 0 0,1 0-8 0,3 1-4 0,-1 0 4 0,2 1 0 16,1-2 0-16,1 2-4 0,-1 1 0 0,2-1-4 0,-2 0 0 0,1 0 8 0,0 0 0 15,-2 0-4-15,0-2 4 0,-3 2 4 0,2-2-4 0,-3 0 4 0,0 1-8 16,-2-3-4-16,-2 3 4 0,-2-3 0 0,0 0 4 0,-3-1-8 0,0 0 0 0,-3 0 0 16,-2-2 8-16,0 0 8 0,-2 0-8 0,-3-2-4 0,-1 1 4 0,-2-2 0 15,0 0 4-15,-4-1-4 0,-1-1 0 0,1 1 4 0,-4-2 0 0,0 1-4 16,-2-2 0-16,-1-1 0 0,0 1-4 0,-1-1 4 0,-1 0 0 0,-1-2-4 15,0 0 0-15,-2 0 0 0,1 0-8 0,-2-1-8 0,1-1-4 0,-2 1-8 0,0-2-12 16,-1 0-16-16,1 0-28 0,-3-1-16 0,0-1 8 0,1 0 8 0,-2 0 12 16,0-2 4-16,0 1 8 0,-1-1 8 0</inkml:trace>
  <inkml:trace contextRef="#ctx0" brushRef="#br0" timeOffset="135022.7229">3663 9160 27 0,'1'-5'44'0,"0"0"-4"0,-1-1 0 0,0 0-4 0,0 0 0 0,0 0 0 16,0 0 0-16,-1 0-4 0,-1-1-4 0,1 1 4 0,0 0-8 0,-2 0 0 0,1 0 4 16,-1-1-4-16,-1 2-8 0,-2-2 0 0,1 3 0 0,0-2 4 0,-2 1-8 15,0 2 4-15,-2 0 0 0,0 2-8 0,0 1 0 0,-3 0 8 0,1 0-4 16,0 2-4-16,-1 3 0 0,0 0 8 0,-1 1-12 0,0 1 4 0,1 0 4 15,-1 2 0-15,0 1-8 0,1 1 8 0,0 0-4 0,1 1 0 0,-1 1 4 0,2 2-4 16,0-2 0-16,-1 1 0 0,3 1 0 0,1 0 4 0,0 1 0 0,0-1-4 16,3 2 0-16,1-2 0 0,1 0 4 0,2 0 0 0,2 1-12 0,1-3 4 0,2 1 4 15,3-1-4-15,-1-2-4 0,3 2 0 0,0-3 0 0,4 0 4 16,-1-2 4-16,3 0-8 0,-1 0 0 0,2-2 0 0,0-1-4 0,0 1 0 0,2-2 0 15,-1 0 0-15,1 0-4 0,-1-2-16 0,0 0-4 0,1-1-16 0,-2 1-4 16,0-2-12-16,0 0-8 0,0 0-28 0,-1-2 0 0,-1 2 8 0,0-2 12 0,0 1 12 16,-3-2 4-16,2 1 4 0,-3-2 8 0</inkml:trace>
  <inkml:trace contextRef="#ctx0" brushRef="#br0" timeOffset="135250.7359">3851 9282 35 0,'-2'-3'36'0,"1"0"-8"0,-1 1 4 16,0 0-8-16,1 1-4 0,0-1 0 0,0 1-4 0,0 1 8 0,0 0-4 0,2 0 0 15,-1 0 0-15,2 2 0 0,-1-1-4 0,1 0 4 0,0 2-4 0,1 0 0 16,0-2 0-16,1 2 0 0,1 0 0 0,0 1-4 0,0-1 0 0,0 2 0 0,2-1 0 16,-1 0-4-16,3 1 0 0,-1 0 0 0,1-1 0 0,1 2-4 0,0-2 0 15,0 2 8-15,2-1-8 0,-1 0 0 0,-1 0 0 0,3 0 0 0,-2 0 4 16,0 0-8-16,1-1 0 0,-2-1 0 0,2 3 4 0,-2-3-4 0,0-1 0 0,0 2 0 15,-2-1-4-15,0-1-4 0,-1 0 0 0,1-1-8 0,-2 1 0 0,-1-1-8 16,-1 0-4-16,0-1-16 0,-1 0-24 0,0-2-8 0,-3 2 8 0,1-2 4 0,0 0 12 16,-2-1 4-16</inkml:trace>
  <inkml:trace contextRef="#ctx0" brushRef="#br0" timeOffset="135543.7527">4058 9151 35 0,'2'0'32'0,"1"1"4"0,-2 1 0 0,2-1-4 0,-2 1 0 0,0 1-4 16,0-1 4-16,1 2-4 0,-1-1 0 0,-1 2 0 0,-1-1 0 0,0 1 4 0,0 1-16 16,-1 0 16-16,0 2-4 0,0 0-8 0,-2 1 8 0,1 1 0 0,-1 0-4 15,-1 1-4-15,-1 1 12 0,0-1-12 0,1 2-4 0,-2-1 8 0,0 1 0 16,-1 1-12-16,1-1 4 0,-1 2-4 0,0-1 0 0,-1 0 0 0,1-1-4 15,0 2 4-15,-2-1-4 0,2 0-4 0,1-1 4 0,-1 0-4 0,0 1 4 0,1-2 4 16,0-1-8-16,1 1 0 0,0-3 0 0,-1 2 0 0,2-2-4 0,1 0 4 16,0 0 4-16,0-2-4 0,1 0 0 0,0-2-4 0,1 1 4 0,-1-2 0 0,2 1-8 15,0-2 4-15,1-1-4 0,1 0 0 0,0 0 4 0,2-2-12 0,-2 0-4 16,2-2-16-16,-1 1-16 0,1-1-8 0,0-1-16 0,-1 1-4 0,2-1-28 15,0 0 8-15,-1-1 12 0,0 0 12 0,2 1 8 0,0-1 4 0,-1 1 12 0</inkml:trace>
  <inkml:trace contextRef="#ctx0" brushRef="#br0" timeOffset="135865.7711">4379 9675 3 0,'7'-3'36'0,"-1"-2"-4"16,-2 0 0-16,0 0 0 0,-2 0-4 0,1-2 0 0,-3 2 0 0,0 0-4 15,0-2 0-15,-2 1 0 0,0 1 0 0,-2-1-4 0,-1 1 0 0,0-1 0 0,-3 1 4 16,0 0 0-16,-1 2-4 0,-2 0 4 0,0 0 0 0,0 1-12 0,-2 1 4 16,0 1 12-16,-1 0-4 0,1 0-12 0,-2 1 0 0,2 1 8 0,0-1-4 0,-1 3 0 15,1-1 0-15,-1 1 0 0,2 2 4 0,1-1-12 0,-2 1 4 16,3 0 0-16,1 0-4 0,-1 2 4 0,4-1-4 0,0 1 0 0,1 0 4 0,2-1-4 15,0 1-4-15,3-1 4 0,3 1-4 0,0-1 0 0,2 0 0 0,1-1 0 16,2-1 4-16,2 0-4 0,1 0 0 0,-1-1 0 0,4 0-4 0,-1-1 8 0,2 0-4 16,-1-2 0-16,1 1-4 0,-1-1 0 0,2 0 0 0,-2-1 0 0,2-1 0 15,-2 1 0-15,0-2 0 0,1 1 0 0,-2-1 0 0,2-1 0 0,-2 0 0 16,-1-1-4-16,0 1-4 0,-2-1-8 0,0 0 0 0,-1 0-8 0,-1-1-12 15,-1 0-4-15,1 1-12 0,-4-2-12 0,1 1-8 0,-1-1-16 0,-1 0 0 0,-1-1 4 16,0 2 12-16,0-2 12 0,-1-1 4 0,1 1 8 0</inkml:trace>
  <inkml:trace contextRef="#ctx0" brushRef="#br0" timeOffset="136139.7868">4658 9245 27 0,'6'-2'32'0,"-2"-1"0"15,1 3-4-15,-2 2 4 0,-2 0 0 0,0 2 4 0,-1 1 0 16,-1 0 4-16,0 4-4 0,-2-2 0 0,-1 2 4 0,0 1 0 0,-2 1 4 0,0-1-12 15,0 2 4-15,-1 0 0 0,-1 1-4 0,-1 1 4 0,0-1-4 0,0 1 0 16,-1 1-8-16,0 2 4 0,-1-2-8 0,1 2-4 0,-1 1 4 0,1-2-4 0,-1 4 0 16,0-2 4-16,1-1-4 0,-1 0-4 0,1 2 0 0,1-1 0 0,-1-2 0 15,1 1-4-15,2-1 0 0,-1 0 4 0,0-1-4 0,2 0 0 0,0-1 0 16,0 0-4-16,0-1 4 0,2-1 0 0,1 1 0 0,0-3 0 0,0 1-4 15,2-2-4-15,0 1 4 0,0-2 0 0,1 0 0 0,1 0-4 0,0-3 0 0,0 1 0 16,1-2-4-16,0 0 0 0,2-1-8 0,-1 0 0 0,1-1-12 0,0-2-8 16,0 1-12-16,0-2-8 0,0 1-12 0,1-2-16 0,0 0-8 0,0-1-24 0,0-1 12 15,-1 1 12-15,1-2 12 0,-1 1 8 0,1 0 4 0,-1-2 8 0,1 0 4 16</inkml:trace>
  <inkml:trace contextRef="#ctx0" brushRef="#br0" timeOffset="136559.8108">4848 9524 3 0,'2'-2'32'0,"-1"1"0"0,0 1 0 15,0 0 0-15,0 1-4 0,-1 2 4 0,0 0-4 0,-1 1 0 16,0 1 0-16,0 1 4 0,-1 1 0 0,-2 0 0 0,1 2 0 0,0 1 0 0,0 0 0 15,-1 0 0-15,-1 2 0 0,0 1-8 0,0 1 0 0,-2 1 8 0,1 0-8 16,-1 2 0-16,0 1-4 0,-2 1 0 0,1 0 0 0,0 1-4 0,-1 0 8 0,-2 2-8 16,1-1 0-16,0 0 0 0,-1 0 0 0,0 1 0 0,-1 0 4 0,1 0 0 15,0-1-12-15,-1 0 4 0,1 0 0 0,0-1 0 0,0 1 0 0,1-1-4 16,0 0 0-16,-1-1-4 0,2 0 4 0,1 0-8 0,0-2 8 0,0 0-8 0,2 0 4 15,-1-2 4-15,2 0-8 0,-1-1 0 0,2 0 4 0,1-2-4 0,1-1 4 16,0 1-4-16,0-3 4 0,2 1 0 0,0-1-8 0,0-1 0 0,0 0 8 0,2-1-8 16,0-1 0-16,-1 0 4 0,2-1 0 0,-1-1-8 0,1 1 0 0,1-2 0 15,-1-1-8-15,0 0-4 0,2 0 0 0,-2-2-4 0,0 0-4 0,0 0-8 16,0-2-4-16,0 1-8 0,0-1 0 0,0 0-4 0,-1-1-8 0,1-1-16 15,-1 0-16-15,0-1 8 0,0 0 4 0,-1 1 12 0,1-2 12 0,0-1 4 0,-2 2 4 16</inkml:trace>
  <inkml:trace contextRef="#ctx0" brushRef="#br0" timeOffset="139507.9794">9785 6992 19 0,'0'-1'20'0,"-1"1"0"0,1-2-4 0,0 2-4 16,0-1 4-16,1-1-4 0,-1 2 0 0,0 0 0 0,0-1 0 0,1 0 0 15,-1 0 0-15,1 0 0 0,-1 0-4 0,0-1 4 0,1 1 0 0,-1 0-4 16,0 0 0-16,1-1 0 0,-1 0 0 0,1 1 4 0,-1 0-4 0,0-1 0 0,0 1 0 15,0 0-4-15,1-1 4 0,-1 1 0 0,1-1 0 0,0 1-4 16,-1 0 0-16,1-1 4 0,0 1 0 0,-1 1 0 0,1-2-4 0,-1 1 0 0,1 0 0 16,0 1-4-16,0 0 4 0,0-1-4 0,1 0 0 0,0 1 4 0,2 0 4 15,-1 1-4-15,1-1 0 0,0 1 0 0,2 0 0 0,0 0 4 0,1 2-8 0,1-1 0 16,0 1 4-16,1 0 0 0,3 0 0 0,-2 3 0 0,3-3 0 0,0 3 0 15,0-1 0-15,2 0-4 0,0 1 0 0,1 1 0 0,0 0 0 0,2-2 0 0,0 2 0 16,-1 1 0-16,1-1 4 0,0 0-4 0,1 0 4 0,-1 1-4 0,0 0 4 16,0-1-4-16,-2 0 4 0,2 0-4 0,-3 1 0 0,1-1 4 0,-2-2-4 15,0 1 4-15,-1 1 0 0,-2-3 4 0,1 1 0 0,-3 0-4 0,-1-2 0 16,0 1 4-16,-2-1 0 0,-1 0 0 0,-1-1 0 0,-2-1-4 0,-1 1 0 0,-1-2 0 15,-1 1 4-15,-2-1-8 0,0-1 4 0,-1 1 0 0,-1 0 0 0,-3-3-4 16,2 1 4-16,-2 0-4 0,0 0 0 0,-2 0 4 0,1-2 0 0,0 2-4 0,-2-1 4 16,1 1 0-16,1-1 0 0,-1-1 0 0,-1 1-4 0,1 0 0 0,-1 0 4 15,1 1-4-15,1-1 0 0,0 0 0 0,-1 0 4 0,2 2-4 0,0-3-4 16,0 2 8-16,1-1-4 0,1 2 0 0,0 0 0 0,2-1 4 0,0 0 0 0,-1 2-4 15,3-1 0-15,0 1 8 0,1 0-8 0,1 1 0 0,1-1 8 0,1 2-8 16,0 0 0-16,2-1 0 0,-1 2 4 0,1-1-4 0,1 1 4 0,0 0 4 16,1 0-4-16,1 0 0 0,-1 1-4 0,1 0 0 0,0-1 0 0,0 2-4 15,2-1 8-15,-2 1 0 0,1-2-8 0,0 2 4 0,1 0 0 0,-1 0 0 0,0-1 0 16,1 1 0-16,-1 0 0 0,-1-1 0 0,1 0 8 0,0 0-4 0,-2-1-4 15,0 1 0-15,1-1 4 0,-1 0 0 0,-1 0 4 0,0 1 0 0,-1-2-4 0,1 0 0 16,-1 0 0-16,-1-1 4 0,-1 1 0 0,1 0 0 0,-1-1 0 0,1-1 0 16,-2 1 0-16,0 0-4 0,0 0-4 0,-1-1 8 0,1 0-4 0,0 0 0 15,-1 0-4-15,0 0 8 0,0 0-8 0,0 0-4 0,0 0 8 0,-1 0 4 16,1 0-8-16,0-1 4 0,0 0-12 0,0 1 0 0,-1-1-4 0,1 1 0 0,0-1 0 15,0 1-8-15,0-1-8 0,0 0-12 0,0-1-4 0,0 2-20 0,-1-2-20 16,1 2-4-16,0-1 8 0,-1-1 12 0,0 2 4 0,-2-2 8 0,2 2 4 16</inkml:trace>
  <inkml:trace contextRef="#ctx0" brushRef="#br0" timeOffset="140846.056">3694 7643 19 0,'1'-2'28'15,"1"0"0"-15,-1-1-4 0,-1 2 0 0,1-1 0 0,-1 1-4 0,1 0 0 0,-1 1 0 16,1-2-4-16,-1 2 0 0,0 0 0 0,0 0-4 0,-1 0 4 0,1 2 0 15,-2-1 0-15,2 2-4 0,-2 0 8 0,0 0-4 0,-1 2 0 0,0 0 0 0,-1 0 4 16,0 2 4-16,-3-1-4 0,2 2 0 0,-2 0 4 0,1 2-4 0,-2-1 8 16,-1 1-8-16,1 1 12 0,-1 0-8 0,-1 3-4 0,0-1 4 0,0 1-4 15,-2-1 0-15,0 3 8 0,0 0-16 0,-1 0 8 0,1 0 4 0,-3 2-8 16,2 2 4-16,-2-3-4 0,1 2 4 0,-1 0 0 0,1 1 4 0,-1-1-8 0,1 2 0 15,0 0 4-15,-1 0-4 0,1-1 0 0,-1 1 0 0,2 2 0 0,-1-2 0 16,1 1 0-16,-1 0-4 0,1 1 0 0,0 0 4 0,-1-1-4 0,2 1 4 0,-1 0-4 16,1-1 0-16,-2 1-8 0,3 0 8 0,-1 0 0 0,0 0 0 15,1 0 0-15,1-1-4 0,-2 2 0 0,2-2 0 0,0 1 0 0,-1-1 0 0,2 0-4 16,0 0 4-16,-1 0 0 0,1-1-4 0,1 0 0 0,-1 0 0 0,1 0 0 15,0-2 0-15,1 0-4 0,-1 0 0 0,2-1 8 0,-1 1 0 0,1-2-4 0,0-1 4 16,-1 3-4-16,2-3 0 0,0 1 0 0,-1 0-4 0,0-1 4 0,1 1 0 16,-3-1 0-16,2 0 0 0,-1 1-4 0,0 0 8 0,-1-1-12 0,0 1 8 15,0 1-4-15,-1-1 0 0,-1-1 8 0,0 2-8 0,1-1 4 0,-2-1 0 16,0 2 0-16,1 0 4 0,-2 0-4 0,1-1-8 0,-1 1 8 0,1-2-8 0,0 1 8 15,0 0-4-15,0 0 0 0,1-1-4 0,-1 0 0 0,2-1 4 0,-1-1 4 16,0 1-4-16,2-1 0 0,0-1 0 0,1-1 0 0,-1 0 0 0,2-2 4 16,1 0-4-16,1 0 0 0,0-1-4 0,0-2-4 0,2 2 4 0,-1-3 4 0,2 0 0 15,0 0 0-15,2-1 4 0,-1-1-4 0,1-1 0 0,1 0-4 0,0-1 4 16,0 1-8-16,0-1-4 0,0-1-4 0,1 1 0 0,-2-2-4 0,2 0-8 0,-1 0-12 15,1 0 0-15,-1 0-8 0,1-2 0 0,-1 1-8 0,2-1-8 0,-2-1-8 16,1 1 4-16,0-1-8 0,-1 0-8 0,2-1-20 0,-2-1 0 0,1-1 8 16,1 2 16-16,0-3 8 0,1 1 8 0,-1-2 8 0,0 1 4 0</inkml:trace>
  <inkml:trace contextRef="#ctx0" brushRef="#br0" timeOffset="141396.0874">3263 8661 31 0,'-1'-4'28'0,"0"1"-4"0,0 0 0 0,0 1 0 0,1 0 0 0,-1 0-8 16,1-1 0-16,0 1 0 0,1 1 0 0,0-1-8 0,1 0 4 0,-1 0 0 15,2 1-4-15,0-2 0 0,0 1 0 0,3 1 0 0,-2 0 0 0,2-2 0 0,2 3-4 16,-1-2 4-16,2 2 0 0,1 0 0 0,1 0 0 0,0 0 0 0,2 1 0 15,1 0 0-15,0 1 0 0,3 0 0 0,-2 1 0 0,4 0 0 0,-2 0 4 0,3 1-4 16,0 1 4-16,0 0 0 0,2 0 0 0,0 1-4 0,0 0 4 16,1 0 4-16,2 1-4 0,0 1 4 0,0 0-4 0,1 0-4 0,2 0 4 0,0 1 4 15,0 0-8-15,2 0 8 0,0 1 0 0,0 0-12 0,1 0 4 0,-1 1 8 16,2-1 0-16,-2 0-8 0,1 2-4 0,0-2 12 0,-1 2 0 0,0-2 0 0,0 1-4 15,-1 2-4-15,0-2 0 0,0 1 0 0,-1-1-4 0,-1 1-4 0,0 0 8 16,-1 0 0-16,0 0 0 0,-2-1-4 0,1 1 4 0,-3-1 8 0,1 1-12 16,-1 0 4-16,-2 0 8 0,-1-1-8 0,0 1 4 0,-2-2-8 0,1 1 8 15,-3 0-4-15,1-2 8 0,-1 2-8 0,0-1 8 0,-2-1-8 0,1 0 0 0,-1 1 0 16,0-2 4-16,0-1-4 0,-1 1 0 0,0 0 4 0,0-2-4 0,1 1 4 15,-1-1-4-15,-1 0 0 0,1-1 0 0,-1 1 0 0,0-2 0 0,1 1 0 0,-1-2 0 16,0 1 0-16,-1 0 0 0,0-1-4 0,0 0 0 0,-1 0 0 0,0 0 0 16,-1-1 0-16,0 0 0 0,0 0 0 0,-1 0 0 0,-1-1 0 0,1 1 0 15,-1-1 0-15,-1-1 0 0,-1 1 0 0,0 0 0 0,-1-1-4 0,0 1 0 0,-2-1 0 16,0 0 0-16,-1 0 0 0,-1 0-4 0,1-1 4 0,-2 1 0 0,-1-2-4 15,1 1-4-15,-1-1 0 0,-1 2-4 0,1-2-4 0,-1-1-8 0,1 1-12 0,-2 0-4 16,1-1-12-16,0 1-12 0,0-2-8 0,0 3-24 0,0-2-12 16,0-1 4-16,0 2 8 0,-1 0 16 0,1-1 4 0,0 0 8 0,-1 0 8 0,1 1 8 15</inkml:trace>
  <inkml:trace contextRef="#ctx0" brushRef="#br0" timeOffset="141871.1146">5307 8437 23 0,'6'-8'24'0,"-2"0"0"0,1 1 0 0,-1 1-4 0,1 0-4 0,-1 1 0 16,2 0 0-16,-2 1 0 0,0 0 0 0,0 1 0 0,0 1-4 0,-1-1 4 16,1 2 0-16,-1 1 0 0,1 0 0 0,-3 0 0 0,1 2 4 0,-1 1 0 0,0 1-4 15,0 1 0-15,-1 1 0 0,0 0 4 0,-1 1 0 0,0 2 0 0,-1 1-4 16,0 1 8-16,-1 1-8 0,0 1 8 0,-2-1-8 0,1 3 4 0,-1 1 0 0,0 0 0 15,-1 1-8-15,-1 1 8 0,0 1-16 0,0 1 8 0,-1 1-8 0,-1 0 12 16,0 1-8-16,0 0 0 0,-2 2 4 0,1 0-4 0,0 0 8 0,0 2-8 16,-2 1-4-16,2-1 0 0,-3 3 4 0,0-1 8 0,-1 1 8 0,0 3 4 15,-3-1 4-15,1 2 4 0,-1-1 4 0,0 2-4 0,-2-2 0 0,2 0-4 0,-1 2-4 16,-1-2-4-16,2 0 0 0,-2 0 0 0,1 0-4 0,0-1 0 0,0 0-4 15,1 0 0-15,-1 0-4 0,1-1 0 0,1-1-4 0,-1 0 4 0,0 1-4 0,1-3-4 16,0 0 4-16,1-1 0 0,-1 0 0 0,1-2 0 0,0 0-4 16,3-3 4-16,-1 0-4 0,2-3 4 0,1 0 0 0,0-2-4 0,3-1-4 0,0-1 0 15,0-1 4-15,0-2-4 0,2 0 4 0,0 1 0 0,0-4 0 0,1 1-8 16,0 0 8-16,-1-1-4 0,2-3 4 0,0 1-4 0,0-1-4 0,0-2 0 0,1 0 0 15,0-3-4-15,0 1-4 0,0-2-4 0,0 0-8 0,1-2-4 0,1-1-8 16,-1 0-4-16,1-3-4 0,0 2-16 0,0-3-4 0,1 1-12 0,-1-1 0 16,1 0-12-16,0-2-12 0,1 1-12 0,-1-2 8 0,0 1 12 0,1 0 12 15,0-2 8-15,1 1 8 0,-2 0 8 0,2-1 8 0</inkml:trace>
  <inkml:trace contextRef="#ctx0" brushRef="#br0" timeOffset="142529.1522">4326 8343 19 0,'-5'-3'24'0,"0"3"4"0,1-1-4 0,-1 0-4 0,1 1 0 15,1 0-4-15,0 0 0 0,0 0 4 0,-1 0-4 0,2 2 0 0,0-2-4 16,0 2 0-16,1-1 4 0,1 1-4 0,0 0-4 0,0-1 0 0,2 1 4 0,0-1 0 15,1 1 0-15,1 1-4 0,0 0 4 0,1-1-4 0,0 2 0 0,1-1 4 16,1 1-4-16,1-1 0 0,-1 1 0 0,1 0-4 0,1 1 4 0,1-1-4 16,-1 0 4-16,1 0-4 0,0 0 0 0,1 0 4 0,0 1-4 0,0-1 4 0,0 0-4 15,1-1 0-15,0 1 0 0,-1-1-4 0,2 0 4 0,-2 0 0 0,1-1 0 16,1 1 0-16,-1-2 0 0,0-1 0 0,-1 1 0 0,0-1 0 0,1 0 0 15,-2-1 0-15,1 0-4 0,1-2 0 0,-2 1 4 0,-1-2 0 0,1 0 0 0,-1 0 0 16,-1-1 0-16,1-1 0 0,-2 0 0 0,1-1 0 0,-3 0 4 0,1 0-4 16,1-3 4-16,-3 2 0 0,0-2 0 0,-1 1 0 0,0-1-4 0,-2 0 12 15,0-1-4-15,-1 0 0 0,-1 1-4 0,0-1 0 0,-2 0 0 0,-1 2 0 0,0-2 0 16,-2 1-8-16,0 0 0 0,-1 0 0 0,0 2 4 0,-1-2 0 0,-2 3 0 15,0-1 0-15,0 1 8 0,-2 1-8 0,2 0 0 0,-2 1 4 0,-1 1 0 0,1 1-12 16,-2 0 4-16,1 2 4 0,-1 1-4 0,1 0 4 0,-1 1 0 16,-1 2 0-16,2 1 0 0,-2 1 4 0,1 0-8 0,-1 1 4 0,2 2 0 0,-1-1 0 15,1 2-4-15,0 1 4 0,0 0-8 0,0 2 8 0,1 0 0 0,0 0 0 16,2 2 4-16,-1-1-4 0,1 2 0 0,2 0 0 0,-1-1-4 0,1 3 0 0,2-2 8 15,0 2 0-15,2 0-4 0,-1 0 0 0,2 0 0 0,2 0 0 0,0 1-4 16,2-1 4-16,1-1 0 0,1 1 0 0,2-1 0 0,1 0 0 0,1 0 0 16,1-1 0-16,3 0-4 0,-1-1 0 0,1 0 4 0,3 0-4 0,-1-1 0 15,3-1 0-15,0-1 4 0,1 0-8 0,-1-1-4 0,3 1-4 0,0-3-8 0,-1 0-16 16,2 0-8-16,-1-2-16 0,2 0-24 0,-1-1-16 0,0-2 4 0,1 0 12 15,0 1 8-15,-1-3 8 0,1 1 8 0,0-2 8 0</inkml:trace>
  <inkml:trace contextRef="#ctx0" brushRef="#br0" timeOffset="144553.268">10403 7535 11 0,'-1'-2'36'0,"1"0"0"0,-1 1-4 0,0-1-4 15,0-1 0-15,1 0 0 0,-1 1-4 0,0-1 4 0,0 0-4 0,0 0 0 0,0 0 0 16,1 1 0-16,0-1 0 0,-1 0 4 0,0 0 0 0,1 1-4 0,-1-1-8 15,-1 1 4-15,2 0 4 0,-1-1 0 0,1 2 0 0,-1-1-8 0,1 0 4 0,-1 0-16 16,0 1 12-16,0-1-8 0,1 1 4 0,0-1-8 0,0 1 0 0,0 0 8 16,0-1-8-16,-1 2-4 0,1 0 4 0,0 0-4 0,0 0 8 0,1 0-4 15,-1 2-16-15,0-1 16 0,2 0 0 0,-1 2 4 0,1-1-12 0,0 0 4 0,1 1 0 16,-1 0 4-16,1 1 8 0,0-2-12 0,1 2-4 0,0 0 8 0,0-1-4 15,1 1 8-15,1-1-8 0,0 2-4 0,-1-1 4 0,2-1 0 0,0 1 8 0,0 0-12 16,0 0 8-16,0-1-8 0,0 1 8 0,1 0-4 0,-1 0-4 16,0-1 4-16,0 0 4 0,0 0 0 0,0 0 0 0,-1 0 0 0,0-1 8 0,0 0-4 15,-2 0-4-15,2-1 0 0,-2 0 0 0,1 0 0 0,-3-1-4 0,1 2 8 16,-2-2-8-16,0-2 8 0,-2 2-8 0,0 0-4 0,-1-1 4 0,-1 0 0 0,0-1-4 15,-2 0 8-15,0 1 0 0,-1-1-4 0,0 0 0 0,-1-1 0 0,1 1 4 16,-2-1 0-16,2 1 0 0,-2 0 4 0,1-1-12 0,0 0 12 0,-1 1-12 16,1-1 4-16,0 1 4 0,0-1-8 0,-1 1 4 0,2-1 4 0,0 1-4 15,0 0-4-15,0-1 8 0,0 1-4 0,1 1 4 0,1-1-4 0,-1 0 4 0,2 2-8 16,1-1 8-16,-1 0-8 0,2 1 8 0,1 1 0 0,-1 0-4 0,2-1 0 15,-1 2 0-15,2 1 0 0,1-1-4 0,-1 1 4 0,1 0 0 0,1 1 0 0,1-1 0 16,0 1 0-16,2-1 4 0,-1 2-4 0,0 1 0 0,1-2 0 16,0 2-4-16,2-1 4 0,-2 0 8 0,1 1-8 0,2 1-4 0,-2-2 8 0,1 1-4 15,0 0 0-15,1-1-4 0,-1 2 4 0,0-2 4 0,1 0-4 0,-1 0 0 16,-1 1 0-16,0-2 0 0,1 1 0 0,-1-1-4 0,-2 0 8 0,1 0 0 0,0-2 4 15,-2 1-8-15,0 1 0 0,0-2 4 0,-2 0 0 0,0 0-4 0,0-2 4 16,0 3 0-16,-2-3-4 0,0 1 0 0,-1-1 0 0,-1 0 0 0,0 0 4 16,-1 0-4-16,0 0-4 0,0-1 0 0,-2 1 0 0,2-2 8 0,-1 1-12 0,0 1 0 15,0-2-8-15,0 2-8 0,0-1-12 0,1-1-8 0,-3 1-16 0,3 0-32 16,-1 0-8-16,0-1 8 0,0 1 8 0,1-1 12 0,-2 1 8 0,1 0 4 0,0-2 8 15</inkml:trace>
  <inkml:trace contextRef="#ctx0" brushRef="#br0" timeOffset="147209.4199">3820 7680 11 0,'-9'-1'40'0,"2"0"-4"0,-1-1 0 0,0 1 0 0,2 0-4 0,0-2 4 15,0 1-4-15,0-1 0 0,2 1-4 0,0-1-4 0,0 1 0 0,1-1-4 0,0 0 0 16,1 1 0-16,-1-1-4 0,2 0-4 0,-2-1 4 0,2 2-4 0,0-1-4 16,1 0 0-16,-1 1 0 0,2 0 0 0,-1 0 0 0,4 2-4 0,-2 0 4 15,3 0-4-15,-1 1 4 0,1 0-4 0,2 2 4 0,1 1 0 0,1-1 0 0,1 2 0 16,3 0 4-16,0 2 4 0,1 0-12 0,4 0-4 0,2 1 4 0,0 2 4 15,3-1 8-15,3 2-8 0,0 1 0 0,3 0 4 0,2 1 0 0,1 0-8 0,1 3 4 16,3-2-4-16,0 1 0 0,2 1 0 0,2 0 4 0,0 1-4 16,1 1 0-16,2-2 4 0,-1 2-8 0,3 2 4 0,-1-2-8 0,0-2 0 0,1 3 4 15,-1-1 0-15,1-1 8 0,-1 0-4 0,-1 0 0 0,-1 1 4 0,-3-2-8 16,1 1 4-16,-4-1 0 0,-1-2 0 0,-2 1 4 0,-2 0-8 0,-2-1 0 0,-1-2 12 15,-3 1-4-15,-3-1 0 0,1 0 4 0,-3-1-4 0,-2-2 0 0,-2 1 0 16,-1-1 0-16,-1 1 0 0,-3-3-4 0,-2 0 4 0,1 0-4 0,-5-1 0 16,-1-1 4-16,0 1-4 0,-3-2-8 0,0 0 4 0,-2-1 0 0,0-1 0 15,-3-1-4-15,1 0 0 0,-1-2 0 0,0 0-4 0,-2-1-4 0,0-1-12 0,1-1-4 16,-1-1-8-16,-1 0-16 0,-1-1-8 0,1-1-16 0,-1 0-24 0,0-2 8 15,-1 1 4-15,0-2 16 0,1 1 8 0,-3-1 4 0,1-1 8 0</inkml:trace>
  <inkml:trace contextRef="#ctx0" brushRef="#br0" timeOffset="147616.4432">4272 6720 31 0,'2'-5'32'0,"-2"1"0"0,0 2-4 0,0-1-4 16,-2 3-4-16,0 0 4 0,-3 1-4 0,0 3 4 0,-1 0-4 16,-2 2 0-16,-1 1 0 0,-3 1-4 0,1 2 4 0,-4 1-4 0,1 0 4 0,-3 4-4 15,0 0 4-15,-2 0 0 0,-1 2-4 0,-1 0 4 0,-2 3 4 0,0 1-8 16,0 1 0-16,-2 2-4 0,-1 1 8 0,-1 2-12 0,0 3 4 0,-1 1 8 0,-1 1-4 15,1 2 0-15,-2 0-4 0,1 2-4 0,0-1 8 0,-1 3-12 0,2-2 0 16,0 1 0-16,2-1 0 0,0 1 0 0,2-3 0 0,3 2 0 0,0-2 0 16,1 0 4-16,4 0 4 0,-1-2-4 0,4-2-4 0,1 0-8 0,0-1 8 0,3 0 4 15,2-3 0-15,-1-1 0 0,4-1-8 0,1-1-8 0,2-2 12 0,0-2-4 16,2-2-8-16,2-1 8 0,0-3 4 0,1 0-4 0,2-3 0 0,0-1-8 15,0-2-16-15,1-1-12 0,0-2-8 0,2 0-16 0,-1-2-32 0,-1 0 0 0,2-2 8 16,-2 0 8-16,0-1 12 0,0-1 4 0,0-1 4 0</inkml:trace>
  <inkml:trace contextRef="#ctx0" brushRef="#br0" timeOffset="148139.4731">6333 7559 19 0,'3'-6'40'0,"-1"-1"0"0,-1 1-8 0,1 1 0 0,-2 1-4 0,0 1-4 15,-2 1 0-15,1 1 0 0,-2 3 0 0,-1 0 0 0,-1 2-4 0,-2 2 4 16,-1 1-4-16,-1 3-4 0,-1-1 0 0,-1 3 0 0,-2 1 4 0,-1 1 0 0,-2 2 0 15,0 0 0-15,-2 2-4 0,-1 3 4 0,-2 0 4 0,0 2 0 0,-1 0-4 16,-1 4 0-16,0-1-4 0,0 3-4 0,-2 0 4 0,-1 2 4 0,-1 2-4 16,0 1 8-16,-1 0 8 0,-1 2 0 0,0 0 0 0,-2 0 4 0,0 2-4 15,0-1 0-15,-1-1-4 0,1 0 0 0,0 0-4 0,0-1-4 0,1 0 0 0,1-1-4 16,2 0 0-16,0-2-4 0,1 0 0 0,0 0 0 0,3-2 0 0,2 0-4 15,0-1 0-15,1-1 0 0,2-1-4 0,1-2 0 0,1 0 0 0,1-1 0 0,1-2-4 16,1-2 0-16,1-1 0 0,0-2 0 0,3-1 0 0,3-2 0 16,-1-2 0-16,3-2-4 0,0 1 0 0,2-3 0 0,1-1-8 0,1-2-4 0,1 0-8 15,1-2-8-15,1 0-4 0,0-3-8 0,-1 1-16 0,1-2-4 0,-1-1-8 16,1-1-28-16,-2 0-16 0,2-2 12 0,-2-3 8 0,1 1 12 0,-1-1 8 0,0-2 8 15,-1-1 8-15,1 0 8 0</inkml:trace>
  <inkml:trace contextRef="#ctx0" brushRef="#br0" timeOffset="148646.5021">4553 7327 31 0,'-2'-7'32'0,"-1"2"0"0,0-2 0 16,0 2-4-16,-3-2 0 0,2 2 0 0,-1 0-4 0,-1 0 0 0,-1 1 0 0,-1-1-4 15,1 1 0-15,-2 0 0 0,-1 1-4 0,-2 0 0 0,1 1-4 0,-3 0 4 16,0 0 0-16,-1 2-4 0,1 0 0 0,-3 2 4 0,1 0 0 0,-2 1-4 0,1 1 8 15,-1 1-8-15,0 1-4 0,-1 1 4 0,0 2 0 0,2-1 0 0,-1 1-4 16,-1 2 4-16,2-1-4 0,1 2 8 0,-2 0-8 0,2 0-4 0,1 1 4 16,2 0 0-16,-1 0 4 0,2 1-4 0,-1 0-4 0,3 0 4 0,1-1-8 0,2 1 8 15,0 0 4-15,3 0-12 0,1-1 0 0,1 0 8 0,2 0-4 0,2-1 0 16,0 0-4-16,3 0-4 0,1-2 4 0,2 0 0 0,0 1-4 0,1-3 4 0,3 0 8 15,-1 1-12-15,1-2 0 0,1 0 0 0,0-1-4 0,2-1-4 16,-1 0-4-16,2 0-8 0,0-1-12 0,-1 0-16 0,2-2-20 0,-1 0-20 0,0 0 8 16,1-1 12-16,0-1 8 0,-1 0 4 0,0-2 8 0,0 1 8 0</inkml:trace>
  <inkml:trace contextRef="#ctx0" brushRef="#br0" timeOffset="148828.5125">4526 7501 7 0,'0'0'8'0,"0"0"8"0,1 1 0 0,0-1 4 15,1 0-4-15,0 1-4 0,0 0 4 0,1-1 4 0,1 2-4 16,0-2 0-16,-1 1 0 0,1 0-8 0,0 0 0 0,1-1 4 0,0 2-4 0,1-1 0 16,-1 0-4-16,1 0 0 0,-1-1 0 0,1 0 4 0,1 0-4 0,-1 0 0 15,-1 0-4-15,0 0-4 0,1-1 4 0,-1 0-8 0,2 0-4 0,-2-1-12 0,-1 0-20 16,1-1-12-16,-1 1 8 0,0-1 4 0</inkml:trace>
  <inkml:trace contextRef="#ctx0" brushRef="#br0" timeOffset="149037.5245">4639 7339 27 0,'0'-1'24'0,"-2"1"4"0,1 0-4 0,0 1-4 0,0 0 4 0,0 1 0 16,-2 1-4-16,1 1 0 0,-1 0-4 0,1 1 4 0,-1 1 0 0,-1 0 0 16,0 1 0-16,-1 1 0 0,1 1-4 0,-3 0 0 0,1 1 0 0,-1 1-4 0,1 0 4 15,-2 1-4-15,0 0-4 0,0 1 0 0,0 0 0 0,-1 2-4 0,0-1 4 16,0 0 0-16,0 1-8 0,-1 0 8 0,1 1-4 0,0-2-4 0,1 1 4 0,0-1-4 15,1 1 0-15,1-1 0 0,-1-1 0 0,1 2 0 0,2-4 0 16,0 1-4-16,2 0-8 0,0-1-4 0,1-2-4 0,2 1-16 0,0-2-8 0,1-1-24 16,1 0-4-16,2-1 8 0,0 1 8 0,3-3 8 0</inkml:trace>
  <inkml:trace contextRef="#ctx0" brushRef="#br0" timeOffset="149287.5388">4753 7769 35 0,'10'-4'36'0,"-2"0"0"16,-1 1 0-16,-1-1-4 0,0 1-4 0,-2-1 0 0,1-1-4 0,-2 2 4 0,-2-2-8 15,1 0 4-15,-2 1-4 0,0 1-4 0,-2-2 0 0,1 1-4 0,-2 1 4 16,-1 0-4-16,-1 0 0 0,-1 1-4 0,0 1 4 0,-1-1-4 0,0 1 4 0,0 1-4 15,-2 1 0-15,1 0 4 0,0 0-4 0,-1 1 0 0,0 2 0 16,-4071-2 0-16,8145 2 4 0,-4073 1-4 0,0-1 0 0,2 2 4 0,-1 0-8 0,1 0 4 16,0 0 0-16,1 1 4 0,1-1-4 0,1 2-8 0,1-1 12 0,1 0-4 15,1 0 0-15,0 0 0 0,1 0 0 0,3-1-8 0,-1 0 4 0,2 0 0 0,2-1 0 16,0 0-4-16,1 0-4 0,0-2 4 0,2 1 4 0,0-1-8 0,1-1 0 0,1 1 0 15,-1-1 4-15,1-1 4 0,1-1 4 0,-2 0-4 0,3 0 4 16,-3-1-4-16,1 0 0 0,1-1-8 0,-1 0 0 0,1 0 0 0,-2-1-8 0,0 0-4 16,0-1-8-16,-1 1-4 0,0-2-8 0,0 0 0 0,-2 1-16 0,0-1-16 15,0-2-16-15,-1 2 8 0,0-2 8 0,-1 1 8 0,-2-3 8 0,1 4 4 0</inkml:trace>
  <inkml:trace contextRef="#ctx0" brushRef="#br0" timeOffset="149509.5515">5053 7528 35 0,'2'2'36'15,"0"1"-4"-15,-1 2 4 0,-1-2 0 0,-1 3-4 0,0 0 4 16,0 1-4-16,-2 0 4 0,0 1 0 0,-1 1-8 0,0 0 12 0,-2 1-4 0,-1 1 0 16,1-1-4-16,-1 2 0 0,0 0-12 0,-2 0 0 0,1 2 4 0,-1-2-4 15,-1 1-8-15,0 1 0 0,0 0 4 0,0-1 0 0,-1 0-4 0,2 0-8 0,0 0 0 16,-1 0 0-16,2-1 0 0,0-1 4 0,0 1 0 0,0-1 0 0,1-2-4 15,2 1 0-15,-1 0 0 0,1-2-4 0,1-1 0 0,0 0 0 0,1 0-8 16,2-2 8-16,0-2-8 0,1 1-12 0,0-1-8 0,1-2-12 0,-1 0-4 0,2-2-16 16,1 0-20-16,-2-2-12 0,2 1 8 0,0-3 8 0,0 0 12 0,-2-1 8 15,1 0 4-15</inkml:trace>
  <inkml:trace contextRef="#ctx0" brushRef="#br0" timeOffset="149907.5743">4279 7174 15 0,'4'-9'48'0,"0"3"-4"0,-1 0-4 0,1-1-4 0,0 2-4 0,-2 0-4 16,1 1 0-16,-1 0-8 0,-1 1 0 0,0 2 0 0,-1-2 0 0,0 2-4 0,-2-1 0 15,0 4 0-15,-1-1 0 0,-1 0-8 0,-3 2 8 0,1 0-4 0,-2 1 0 16,0 0 4-16,-3 1-4 0,1 1 4 0,0 0-4 0,-3 2 0 0,2 1 4 16,-2-1 0-16,0 2-8 0,1-1 0 0,-2 2 4 0,1 1 4 0,-1 0-8 0,0 0 0 15,0 2 4-15,0-1-4 0,1 2-4 0,-1 0 4 0,1 1-8 0,0-1 8 16,1 0 4-16,0 2 0 0,2 0 0 0,1-1 0 0,2 1-12 0,-1 0 4 0,3-1 0 15,0 0-4-15,3 1 8 0,2 0-4 0,1-1 0 0,2 0 0 16,2-1-4-16,3 1 4 0,-1-1 0 0,2 0-4 0,2-1-4 0,2 1 0 0,-1-2-12 16,4 1-16-16,-1-2-12 0,1 0-16 0,1-1-28 0,0 0-8 0,0-1 8 15,1 0 12-15,1-1 8 0,-2-1 8 0,1-1 4 0,-1 2 4 0</inkml:trace>
  <inkml:trace contextRef="#ctx0" brushRef="#br0" timeOffset="150286.5959">5558 7693 7 0,'0'4'24'0,"0"2"4"0,0 0-4 0,0 0 0 0,-1 1 0 15,-2 0 0-15,1 0 0 0,-1 2-4 0,0-1 0 0,0 1 0 0,-1 0 4 16,-1-1 0-16,1 2 0 0,-1 0-4 0,-1-1 0 0,0 2-4 0,0-2 4 16,0 3-4-16,0-1 0 0,-2-1 0 0,1 1 0 0,0 0-12 0,-2 0 12 0,0-1 4 15,1 0-8-15,-1 0 0 0,-1-1 0 0,1 0 0 0,-2-1-4 0,1-1 0 16,-1 1 0-16,0-1 0 0,-1-2-4 0,0 2 0 0,0-2 0 0,-1 0 0 0,0-2 0 15,-1 2-4-15,1-3 0 0,-1 1 0 0,2-2 0 0,-1 0-4 16,-1 1-4-16,1-2-8 0,-1 0-12 0,2-2-4 0,-1 1-20 0,1-1-16 0,1-1-12 16,0 0 4-16,1 0 12 0,1-1 8 0,0 0 4 0,1-1 4 0</inkml:trace>
  <inkml:trace contextRef="#ctx0" brushRef="#br0" timeOffset="150669.6178">5876 7945 27 0,'4'-2'52'0,"-1"1"-8"0,0-1-4 0,0 2-8 16,0-1-4-16,0 0 0 0,-2 1 0 0,1 0 0 0,-2 2-4 0,0-2 0 15,-2 2-4-15,1 1 4 0,-3-2 4 0,0 3-4 0,-1-1 4 0,0 1-4 0,-1 1 4 16,-1 0 0-16,-2 0 0 0,0 0 0 0,-1 1 0 0,-1 1 4 0,0 0-8 15,-3 0-4-15,2 2 8 0,-1-1-8 0,-2 0 0 0,0 2 0 0,-1 0 4 16,0-1-8-16,-1 2 4 0,1-1-4 0,-3 1 0 0,2 0 0 0,0 0-4 16,-1-1 0-16,2 1-4 0,-1-1 0 0,3 1 4 0,-2-1-4 0,2 0-8 0,0-2 8 15,2 2 0-15,-2-2-4 0,4 0 0 0,-1-1 0 0,1 2 0 0,2-3-4 16,0 0 4-16,1 0-4 0,0 0 0 0,3-1 0 0,0-1 0 0,2 0-8 0,1-1 0 15,1 0-4-15,1-1 0 0,0-1-16 0,2-1-8 0,0 0-4 0,0 0-16 16,2-1-4-16,0-2-20 0,1 1-24 0,-1-3 0 0,2 3 12 0,-1-2 12 16,2-1 8-16,-2 1 4 0,2-1 8 0,0 1 8 0</inkml:trace>
  <inkml:trace contextRef="#ctx0" brushRef="#br0" timeOffset="151281.6529">6074 8293 3 0,'-1'-1'32'0,"1"1"-4"0,-1-2 0 0,1 1-4 16,0 1-4-16,0 0 0 0,-1 0 0 0,1 0 0 0,0 1 0 0,0 1-4 15,1-2 0-15,-1 1 0 0,0 0 0 0,2 1 0 0,0-1 0 0,0 1 0 16,2 0 0-16,-2 0-4 0,1 1 4 0,1 0 4 0,1 1-4 0,0-1 0 16,0 1 4-16,3 0 0 0,-2-1-4 0,1 2 0 0,0-1 0 0,2 0 4 0,0-1 0 15,0 1-4-15,0 0-4 0,1-1 0 0,-1 1 4 0,2-1-4 0,1 0 4 16,-2 0 4-16,2-1-4 0,-1-1 0 0,0 1 0 0,2-2 0 0,-3 0 0 0,1 0 0 15,1 0-8-15,-2-2 4 0,1 1 0 0,0-3 8 0,-1 2-4 0,-1-2-4 16,0-1 4-16,-1 1-8 0,-1-1 12 0,0 0-4 0,0-2-4 0,-2 0 4 16,-1 1 0-16,1-1-4 0,-2-2 4 0,-1 2 0 0,-1-1 0 0,0 0-4 0,-1-2 0 15,-1 1 0-15,-1 0 0 0,-1 0 0 0,0 0-4 0,-1-1 0 0,-1 2 0 16,-1-1 0-16,-1 1 0 0,0 0 0 0,0-1 0 0,-2 2 0 0,-1 0-4 0,1 1 0 15,-2 0-4-15,-1 1 4 0,1 0 0 0,-2 3 0 0,0-1-4 16,0 1 4-16,-2 1-4 0,1 2 0 0,-1 1 4 0,0 0 0 0,-1 1 0 0,1 1 0 16,0 2-4-16,1 1 0 0,-2 0 0 0,3 1 0 0,-2 2 0 0,2 0 4 15,0 0 0-15,1 2 0 0,1 0 0 0,-1 1 0 0,2 0-4 0,1 0 0 0,-1 2 4 16,3-1 0-16,0 0 0 0,1 1 0 0,1 0 0 0,0-1-4 0,3 1 4 15,0 0 0-15,1-1-4 0,2 0 4 0,2 0 0 0,0-2 0 0,2 1 0 16,1 0-4-16,0-3 4 0,2 1 0 0,2-1-4 0,-1 0 0 0,1-2 0 16,1 0 0-16,0 0 0 0,0 0 0 0,2-3 0 0,-1 0 0 0,1 0 0 0,0-1 0 15,-1-1-4-15,2 1 0 0,-2-2 4 0,2 0-8 0,-3 0-4 0,1-2-8 16,1 0-4-16,-2 0-12 0,1 0-16 0,-2-2 4 0,0 1-12 0,0-1-12 0,-1 0 0 15,-2-1-20-15,0 0-16 0,1 0 0 0,-3-1 8 0,1 0 12 16,-2 0 8-16,-1 0 8 0,0-1 8 0,-1 0 8 0,0 1 8 0</inkml:trace>
  <inkml:trace contextRef="#ctx0" brushRef="#br0" timeOffset="152136.7018">5335 8760 3 0,'-1'-2'28'0,"0"1"0"0,0 1 0 0,1-3-4 0,0 3-4 0,-1-1 0 0,0 1 0 15,1-1-4-15,-1 0 0 0,1 0 0 0,1 1-4 0,0 0 0 0,0 0 0 16,-1-1 0-16,2 0 0 0,0 1 0 0,0-1-4 0,2 1 0 0,-1 0 0 0,0-2 0 15,0 2 0-15,2 0 0 0,-1-2 0 0,1 2 4 0,1-1-8 16,-1 1 8-16,1-2 0 0,1 2-4 0,-1-1 4 0,2 0-4 0,-1 0 4 0,1-1-4 16,0 2-4-16,2-2 4 0,-1 1 0 0,2 0 0 0,1 0 0 0,-1-1 0 15,1 1 0-15,0 0-4 0,0 0 4 0,2 1 0 0,-1 0 0 0,1-1 0 0,0 1-4 16,0-2 0-16,1 2 0 0,0 0 4 0,1 0 0 0,0 0 0 0,1 0-4 15,1 2 0-15,-1-4-12 0,3 2 16 0,-1 0 0 0,3 0-4 0,-1 0 8 16,1 0 0-16,1 0 4 0,1-1-8 0,2 1 4 0,0-1-4 0,1 0 12 16,2-1-4-16,-1 0 0 0,3 1-4 0,0-2 4 0,3 2-4 0,-1-2 0 0,1 0-4 15,1 0 0-15,0 0 4 0,2 0-4 0,0 0 0 0,2-2-4 0,0 1 4 16,0 0-4-16,1 0 0 0,0 0 0 0,0-1 0 0,-1 0 0 0,1 1 0 0,0-1 0 15,-2 0-4-15,0 1 4 0,0 0 4 0,-2 0-8 0,1-1 0 16,-3 1 0-16,0 0 0 0,-2 1 4 0,-1-1-4 0,0 0-4 0,-2 1 4 0,-1-1 0 16,-2 1 0-16,0 0 4 0,-2 0-4 0,-2 0 0 0,-1 0 0 0,0 0 0 15,-3 0 0-15,0 0 0 0,-2-1 0 0,0 2 4 0,-3-2-4 0,0 1 0 0,-2 0-4 16,1-1 8-16,-2 0-4 0,-1 0 4 0,0 0-4 0,-1 0-4 0,0-1 4 15,-1 0-4-15,-1 0 8 0,0 0-4 0,0-2 0 0,0 1 8 0,-1-1-8 16,-1 1 0-16,1 0 0 0,0-3 0 0,-1 3 8 0,0-2-12 0,0 0 4 16,0 0 0-16,0 0 0 0,1 0-8 0,0-2 0 0,-1 2 8 0,0-2 0 0,1 2 0 15,0-1 0-15,0-2 0 0,0 1 0 0,3 0 0 0,-2-1 0 0,1 1 0 16,0-1 0-16,2 1-4 0,-2-1 0 0,1 0 8 0,1 0-4 0,1 0 0 0,-1 0 0 15,0-1 0-15,2 2 0 0,-1-2-4 0,0 2 4 0,1-2 0 16,-2 1 0-16,1 0 4 0,0 1-4 0,0-1 0 0,-2 0 0 0,2 1 0 0,-1 0 8 16,-2 0-8-16,0 1 0 0,2 0 0 0,-4 0 0 0,1 1-8 0,-1 0 8 15,-1 1-4-15,0 0 4 0,-1 0 0 0,0 1 0 0,0 0-8 0,-3 1 8 0,1 1-8 16,-1-1 0-16,-1 2 0 0,0-1 0 0,-1 1-8 0,1 1-8 0,-3 1-8 15,1-1-8-15,0 2-8 0,-1-2-20 0,1 2-28 0,0 0 4 0,-1 0 8 16,0 0 12-16,1 0 4 0,0 0 8 0,-1 0 8 0,2 2 4 0</inkml:trace>
  <inkml:trace contextRef="#ctx0" brushRef="#br0" timeOffset="153340.7706">4635 6376 39 0,'9'-6'40'0,"0"1"-8"0,1 0 0 0,-3 1-4 15,0 0-4-15,-1 1 4 0,0 0-8 0,0 1 0 0,-2 1-4 0,-2 1 4 16,0 1 0-16,-2 1-4 0,-2 1 0 0,0 1 4 0,-3 1-4 0,-2 1 0 0,-1 1-12 15,-2 0 12-15,-2 3 0 0,-1 1 0 0,-3 0 0 0,-1 4 0 0,-2 0 0 16,-1 2-4-16,-3 2 8 0,-1 1 0 0,-2 1-4 0,-1 1 0 0,-2 1-4 16,0 3 0-16,-1-2 0 0,-1 2 0 0,-1 1-4 0,-1 1 0 0,0 0 0 0,1 0-4 15,-1 0 0-15,0 1-4 0,0-1-4 0,1 0 4 0,1 0 8 0,1-1-12 16,1 1 0-16,1-3 4 0,1 1 4 0,2-1 4 0,2-1 0 0,0-2-4 0,3 0 0 15,2-2-4-15,1-1 0 0,2-1 8 0,2-3-4 0,2 1-8 16,2-3 0-16,0 1 8 0,3-3-4 0,1-1-4 0,2-1-8 0,-1-1 4 0,3-1 0 16,0-2-12-16,1 1-4 0,1-2-12 0,0-1-8 0,0-2-12 0,2 1-16 15,-1-2-12-15,1 0 4 0,-1-2 12 0,0 1 8 0,2-2 8 0,-1 0 4 0</inkml:trace>
  <inkml:trace contextRef="#ctx0" brushRef="#br0" timeOffset="153847.7996">4340 6717 11 0,'4'-2'28'0,"1"0"-8"0,-1 0 0 0,2 1 0 0,-2 0 0 0,1 1 0 15,0 0-4-15,-1 2 0 0,2-1-4 0,0 1 0 0,0 1-4 0,0 1 0 0,1 0 4 16,-1 2-4-16,3-1 0 0,-2 2 4 0,1-1-4 0,2 1 0 0,-1 2 0 15,2-1 0-15,2 3 0 0,-1 0-4 0,2 1 4 0,2 1 0 0,-1 0 0 16,3 1 0-16,2 0 0 0,1 2 0 0,2 0-4 0,1 1 0 0,4 0 0 16,1 1 4-16,1 1 0 0,2 1-4 0,3 0 4 0,1 1 0 0,2 1-4 0,2 1 0 15,1-1 0-15,1 3 4 0,1-1-4 0,2 3 0 0,1 0 4 0,0 0-4 16,3 1 4-16,-1 0 0 0,3 1 0 0,0 0 0 0,0 1 0 0,1 0 0 0,1-1 0 15,-1 2 4-15,2-1-4 0,-1 0 4 0,0 0 0 0,0 1 4 16,0-1 4-16,-2-1-8 0,-1 2 4 0,0-1 4 0,-2-2-4 0,0 1 0 0,-2-1 0 16,-1-1 0-16,-1 0 0 0,-1-1-4 0,-2-2 0 0,-1 1 0 0,0-2 4 15,-3-1-8-15,-1-1 4 0,-1-1-4 0,-2-1 0 0,-3-2 4 0,0 1 0 0,-2-2 0 16,-3-1 0-16,0 0-8 0,-2-2 4 0,-3 1 8 0,0-3-8 0,-2 0 0 15,-2-1 0-15,-1 0 0 0,-1-2 4 0,-1 0 0 0,-2 0-4 0,-1-2-8 16,-2 0 8-16,1-1 0 0,-4 0-4 0,1-1 0 0,-2 0 0 0,0-2 4 0,-1 1 0 16,-1-1-4-16,-1-1 0 0,0 1 0 0,-1 0 0 0,0-2 0 0,0 0-4 15,-1 1 0-15,0-1 0 0,0 0 0 0,-1-1-4 0,0 1 0 0,1-1-4 16,-2 0-4-16,1-1 0 0,-1 1-12 0,0-1-20 0,1 1-8 0,-2-1-16 0,-1 0-16 15,2-1-28-15,-1 1 8 0,0-1 12 0,-1-1 8 0,0 2 4 0,0-2 12 16,-1 1 12-16,0-1 4 0</inkml:trace>
  <inkml:trace contextRef="#ctx0" brushRef="#br0" timeOffset="154514.8378">3978 8351 23 0,'1'-11'36'16,"0"0"-4"-16,1 1 0 0,2 0-8 0,-1 0 0 0,2 3 0 0,-1-3-4 0,1 3-4 16,1 1 0-16,2-1 4 0,0 1-4 0,-1 1 0 0,2 1 0 0,2 1-4 15,-1-1 4-15,1 2 4 0,3 0-4 0,-1 2 4 0,2 0 0 0,1 2 4 0,2 0-8 16,1 2 4-16,2 0 0 0,1 2 4 0,1 1 0 0,0 1-8 0,3 2 4 15,0 0-4-15,0 1-4 0,2 0 0 0,0 3-8 0,0-1 0 0,1 1 8 16,-2 1-8-16,1 0 4 0,1 0 4 0,-1 1-8 0,0 0 0 0,0 1 8 0,0 0 0 16,-1-1 0-16,0 1 0 0,0 0 0 0,-2-1 0 0,0 1 0 0,0-2 0 15,-2 0-4-15,-1 1 8 0,0-1-4 0,-1-1 0 0,-3-1 4 0,0 0-8 0,-2-2 4 16,-1 1-4-16,-2-1 0 0,1-2 0 0,-3 0 0 0,1 0 0 0,-3-2-4 15,0 0 4-15,0-1-4 0,-3-1-4 0,1 0 4 0,-1 0-4 0,-1-1 8 16,0-1-4-16,0-1-4 0,-2 0 0 0,-1 0-8 0,-1-1 0 0,-1-1 0 16,0 0-20-16,-1 0-4 0,-2 0-16 0,-1-1-12 0,-1-1-12 0,0 1-32 0,-1 0 0 15,0-1 8-15,-2 0 12 0,-1-1 12 0,1 3 4 0,-1-3 8 0,-2 1 8 16</inkml:trace>
  <inkml:trace contextRef="#ctx0" brushRef="#br0" timeOffset="155040.8679">2963 9062 15 0,'10'0'28'0,"-1"1"0"0,2 0-4 16,2-1 0-16,1 3 0 0,3-1-8 0,-1 1 0 0,2 1 0 0,1-1 0 0,3 3 0 15,0 1 0-15,2-1 0 0,0 2-4 0,2 1 8 0,2 1-4 0,1 2 0 16,2 0 4-16,-1 1 0 0,3 1-4 0,0 0 0 0,1 2 0 0,3-1 0 0,0 2 4 15,2 0 0-15,-1-1-4 0,4 1-4 0,0 0 4 0,0 0-4 16,1 1 0-16,0 0-4 0,2-1 8 0,-2 0-12 0,0 1 0 0,2-3 8 0,-2 0-4 16,0 1-4-16,0-1 4 0,-2-1-4 0,0 0 0 0,-1-1-4 0,-2-1 0 15,-1-1 8-15,-1 1 0 0,-1-2-8 0,-2-1 0 0,-2 0 0 0,-2-2 8 0,-1 1-4 16,-2-2-8-16,-3 1 4 0,-1-2 4 0,-2 0-4 0,-4 0 4 0,-1-1 4 15,-4 2 0-15,-1-3 0 0,-1-1-12 0,-4 2 0 0,-1-1 4 0,-2-1-4 16,0 0-4-16,-3-1-12 0,-1 1-12 0,0-1-12 0,-1 0-20 0,-2-1-28 0,0-1 4 16,-1 0 12-16,0 1 12 0,0-2 4 0,-1 0 8 0</inkml:trace>
  <inkml:trace contextRef="#ctx0" brushRef="#br0" timeOffset="157230.9931">6287 7367 11 0,'9'-13'36'0,"-3"1"0"0,1 0-8 0,-1-1 0 0,-1 0 0 0,1-1 0 15,-2 2 0-15,0-2 4 0,-1 1-4 0,-1 0 4 0,1 0-4 0,-2 0 0 16,0 1 4-16,-1-2-4 0,0 3-8 0,0-1 4 0,0 0 4 0,-2 1-4 0,1 0-12 15,-1 2 0-15,1-1 8 0,-1 2 0 0,1-1 0 0,-2 1 0 0,1 0-8 16,0 1 0-16,0 1 0 0,-2 1 0 0,2-1 0 0,-1 3-4 0,0-1 4 16,0 1-4-16,-1 0 4 0,-1 3-4 0,1-1 0 0,-2 2 4 0,1-1-12 0,0 3 4 15,-1-1 0-15,-1 2 4 0,-1 0-8 0,1 3 4 0,-1-2 4 0,-1 4-4 16,-1-1 0-16,0 1 0 0,0 2 0 0,-2 1 0 0,0 1-8 0,-1 0 8 0,0 3 0 15,-1-1 0-15,-1 3 0 0,2 0 0 0,-3 2 0 0,1-1 0 16,-1 2 4-16,2 0-8 0,-2 0 4 0,2 1 0 0,-2 0 0 0,2 0 0 0,0-1 0 16,1 1 0-16,0 0 0 0,0-1 0 0,2 0 4 0,-1-1-8 0,2 0 4 15,0-1-4-15,-1-1-4 0,3 1 4 0,0-2 0 0,1-2-4 0,0 1 12 0,0-3-8 16,2 1 8-16,1-2-12 0,0-2 12 0,1 0-8 0,-1-2 8 0,2 0-4 15,0-2 0-15,0-1-4 0,2 0 8 0,-2-2-4 0,0 1 0 0,1-3 0 16,0 2 4-16,-1-2-4 0,1-1-8 0,-1 0 4 0,-1-1 4 0,2 0-4 16,-2-1 0-16,1-1 4 0,-2 0-4 0,2-1 0 0,0-1 0 0,-2-1-4 0,2 2 0 15,-1-3 8-15,-1 0-8 0,1 0 4 0,0-1 0 0,-1 0-4 0,0-1-4 16,1-1 8-16,0 0 0 0,0-2-4 0,0 0 8 0,0 0-12 0,1-1 8 15,-1-1 0-15,2 0 4 0,-1 0-12 0,1 0 8 0,1-1 0 0,0 1-8 0,0-1 8 16,0 1 0-16,0 0 0 0,2 0 0 0,-1 1 0 0,1 0 0 0,1 0 0 0,-1 0 0 16,2 3-8-16,-1-3 4 0,1 3 8 0,0 1-4 0,1-1-4 15,1 1 4-15,0 1 0 0,-1 1 4 0,2 0-4 0,1 2 0 0,0 1 0 0,0 0 0 16,2 1 0-16,-1 1 4 0,1 2-4 0,-1 0 4 0,4 0 0 15,-2 1-4-15,2 1 4 0,-1 0 0 0,1 1 0 0,2 1 0 0,0 0 0 0,1 0 0 0,-1 1 0 16,3 1 4-16,-1 0-4 0,0 1 4 0,1-1 0 0,0 1-8 0,1 2 4 16,0-1 0-16,-1-1-4 0,1 1 0 0,-1 1 0 0,1-1-4 0,-2 2 4 15,0-2 4-15,1 0 4 0,-3 1-4 0,2-1-4 0,-3 0-4 0,1-1 4 16,-3 1 0-16,0-2 0 0,1 1 0 0,-3 0 4 0,-1-1 0 0,1 0 0 0,-2-1 0 15,-1 0-12-15,0-1 8 0,-1 0 0 0,-1-1-8 0,-2 1-8 0,-1-2-8 16,-1-1-8-16,0 1-20 0,-2-2-12 0,-1 0-16 0,0 0-32 0,0-3 4 0,-3 1 12 16,0-1 12-16,0 0 8 0,-1-2 4 0,-1 0 12 0,0-1 4 15</inkml:trace>
  <inkml:trace contextRef="#ctx0" brushRef="#br0" timeOffset="157837.0278">5171 6304 7 0,'8'3'28'0,"3"0"0"0,0 0 0 0,3 1-4 0,1 0-4 0,1 2 4 16,2-1-4-16,2 1 0 0,1 1-4 0,2 0-4 0,2 1 4 0,2 0-4 0,2 4 4 15,2-1-8-15,3 2 8 0,2 1-4 0,2 3-4 0,4 0 4 0,0 2-4 16,1 1 0-16,3 3 0 0,1 1-4 0,2 1 4 0,1 1 0 0,0 2 0 0,1 0-4 16,0 2 4-16,1 2-4 0,0 0 0 0,1 1 0 0,-1 2 0 15,3 0 0-15,-2 2 0 0,2 2 0 0,-2 0-4 0,1 0 4 0,0 1 4 0,0 2-4 16,-1-2 0-16,1 2 0 0,-1 0 4 0,-3-3-4 0,1 1 4 0,-2 0 0 15,-1-2 0-15,-1-1 4 0,-1-1 0 0,0-1 0 0,-4-1 0 0,1-2-4 0,-2 0 0 16,0-2 8-16,-3-1-8 0,0-2 4 0,-1-1-8 0,-3-1 8 16,-1-2-12-16,-2-1 4 0,-2-2 4 0,-1-1 0 0,-4-1 0 0,-1-2 4 0,-1-3 8 15,-2 1-4-15,-2-3 0 0,-2-1-4 0,-2-1-4 0,-1-1-8 0,-3-1 12 16,-2-1-4-16,0-2-4 0,-2 1 4 0,-3-2-4 0,-1-1-4 0,-2 0-12 0,0-1 12 15,-3-1 0-15,0 0-12 0,-1-1-24 0,-3-2-12 0,1 1-24 0,-1-1-28 16,0-1 8-16,-3-1 4 0,1 0 16 0,1-1 4 0,-1-1 4 0,-1 0 8 0</inkml:trace>
  <inkml:trace contextRef="#ctx0" brushRef="#br0" timeOffset="158647.0741">12481 7967 27 0,'0'2'40'0,"1"-1"-4"0,-1 0-4 0,0 0 0 16,0 2-4-16,0-1-4 0,1 0 0 0,1 1 0 0,0 0-4 0,-1 1-4 16,1-1 4-16,1 2 0 0,0 0-4 0,2-1 0 0,0 1 0 0,1 1 4 0,2-1-4 15,1 0 0-15,0 1 0 0,4 0 0 0,-2 1-4 0,3-2 4 0,1 3 0 16,0 0-4-16,2 0 4 0,1 0 0 0,-1 1-12 0,3 0 0 0,-1-1 4 0,1 3-4 15,2-2 4-15,-2 1 4 0,3 0-4 0,0-1-4 0,1 2-4 0,-2-2 8 16,2 1 0-16,0-1-4 0,-1 1-4 0,-1-1-4 0,0 1 0 0,0-1 4 0,-1 0-4 16,-1-1-4-16,-1-1-12 0,-3 1-12 0,2-1-20 0,-5 0-16 15,2-2-20-15,-4-1 8 0,0 0 8 0,-3-1 8 0,-2-1 4 0,-3-1 4 0</inkml:trace>
  <inkml:trace contextRef="#ctx0" brushRef="#br0" timeOffset="159715.1352">5557 5735 23 0,'7'-14'32'0,"0"2"4"0,0-1-4 0,0 1 4 0,0 1-4 15,-1 0 0-15,0 1-4 0,-1 0 0 0,-1 0-4 0,2 3 0 0,-2 0-4 16,-1 0 0-16,-1 1-4 0,0 1 4 0,0 1 0 0,-2 0-4 0,-1 2 0 0,0 0 8 16,-1 0-4-16,-2 2 0 0,-1 2-8 0,-1 0 0 0,-3 1 12 15,0 2-8-15,-5 0 4 0,0 2-4 0,-2 3 8 0,-2-1-4 0,-4 2-4 0,-1 2 0 16,-1 1 0-16,-4 1-4 0,0 2 0 0,-2 2 0 0,-2-1-4 0,-1 3 0 15,-1 1 0-15,-2-1 0 0,-1 2 0 0,1 2 0 0,-2 0-4 0,0 0 0 0,-1 1 0 16,0 0-8-16,1 2 12 0,0-2-4 0,0 2 0 0,3-1-4 0,0-1-4 16,2 0 8-16,1 1 0 0,2-3 0 0,2 0-4 0,1 0 0 0,3-1-4 15,4-2 8-15,0-1 0 0,4-1-8 0,0-2 4 0,4 0 4 0,0-2-4 0,3-1-4 16,2-2 4-16,1 1 0 0,1-3-4 0,2-1 4 0,2-2-4 0,0 1 0 15,2-3 4-15,1 0-20 0,1-1 0 0,2-1-12 0,-1-2-12 0,1 1-8 0,0-2-8 16,0-2-32-16,2 1-4 0,0-2 8 0,-1-1 12 0,2 0 8 0,-2 0 8 16,2-2 8-16,-1 1 4 0</inkml:trace>
  <inkml:trace contextRef="#ctx0" brushRef="#br0" timeOffset="160263.1666">6007 6015 39 0,'0'-6'40'0,"0"1"0"16,-2 1-8-16,-1-1 0 0,1 1 0 0,-3-1-8 0,0 2 0 0,-2-2 0 16,-1 2 0-16,0 1-8 0,-2 0 0 0,-2-1 0 0,-1 3 0 0,-1-1 4 15,-2 1-4-15,-1 1 0 0,-1 1 0 0,-3 0 4 0,-1 1 0 0,0 1 0 16,-2 1-8-16,-1 1 0 0,-2 0 12 0,1 3-4 0,-2 1-4 0,0-1 4 0,0 2-12 15,1 1 0-15,-2 2 0 0,1-1 0 0,0 2 0 0,0-1 0 0,1 1 0 16,0 2-8-16,1-2 8 0,2 2-8 0,0 0 8 0,0-1-4 0,3 2 0 0,0-1 4 16,2 0 4-16,2-1 4 0,1 1-8 0,3-2 0 0,1 2 0 15,3-2 0-15,1 0 0 0,2-1 0 0,2 0 4 0,4 0-8 0,0 0 0 0,4-2-4 16,2 0 4-16,-1 0-4 0,3-1 4 0,1 0-12 0,3 0 8 0,-1 0 4 15,1-1-4-15,1-1-8 0,0 0-4 0,2 0-8 0,-2-1-4 0,1 0-8 0,0-1-8 16,0 0-12-16,-1 0-16 0,0-2-20 0,0 0-4 0,0 0 8 0,0-1 12 16,-2-1 8-16,0 1 8 0,1-1 4 0</inkml:trace>
  <inkml:trace contextRef="#ctx0" brushRef="#br0" timeOffset="160715.1924">6130 6449 19 0,'2'-8'36'0,"-1"0"0"0,-1 0 0 16,0 0-8-16,0-1-4 0,0 1 4 0,-2-1-4 0,0 1-4 0,0-2 4 16,-1 3-4-16,-2-2-4 0,1 1 0 0,-1 0 0 0,-3 1-4 0,1 0 4 0,-2 0-4 15,-1 1 0-15,-2-1-4 0,1 2 4 0,-3 0 0 0,1 1-4 0,-2 1 0 16,1 1 0-16,-3-1 0 0,2 3 0 0,-1 0 0 0,-1 1-4 0,1 1 0 0,-1 0 4 15,1 2-4-15,0-1 0 0,0 3 0 0,1-1 0 0,-1 2 4 0,2-1 0 16,-1 2-4-16,2 1 4 0,0-1 0 0,2 0 0 0,1 3-4 0,0-1 0 16,2 1 0-16,2 0-4 0,1 0 12 0,2-1-4 0,1 2 0 0,3-1-8 15,0 1 4-15,4 0 0 0,-1-2-4 0,3 1 8 0,2-1-4 0,2 1-4 0,0-1 4 16,3 0-4-16,0 1-4 0,1-3-4 0,0 0-4 0,2 1-12 0,0-1-8 15,1 0-8-15,-1-1-4 0,1-1-24 0,0 1-16 0,0-2 8 0,0 0 8 0,-1 0 12 16,1-1 4-16,-1 0 8 0</inkml:trace>
  <inkml:trace contextRef="#ctx0" brushRef="#br0" timeOffset="160917.204">6189 6599 11 0,'-2'-3'40'0,"0"0"-8"0,0 0-4 16,0 1 0-16,1 0-16 0,-2 0 8 0,2-1 0 0,0 1 0 0,-1 1-4 15,2 0 0-15,0 0-4 0,1 1 4 0,0-1-4 0,1 1 0 0,1 0-4 0,0 1 0 16,1 0 4-16,0 1-4 0,2-1 0 0,1 1-4 0,0 1 0 0,0 0 4 15,2 0 0-15,0 1-4 0,0 0 0 0,1 0 0 0,0 1 0 0,0-1 0 0,1 1 0 16,0 0 0-16,0 0 4 0,1 1-8 0,0-3 0 0,0 3 0 0,-1-2 4 16,2 0 0-16,-2 2-4 0,1-2 0 0,-1-1 4 0,-1 1-4 0,1-1-4 15,-1-1 0-15,-2 1-4 0,0-1-8 0,0-1-16 0,-2-1-24 0,0 0-16 0,-1 0 8 16,-1-1 4-16,1-1 8 0</inkml:trace>
  <inkml:trace contextRef="#ctx0" brushRef="#br0" timeOffset="161131.2162">6391 6452 23 0,'-1'4'32'0,"-1"1"0"0,0 1-4 0,-1 0 4 0,1 2 0 0,-1 0-4 16,-1 1 0-16,0 0 4 0,-1 1-4 0,0 1 0 0,-2 1 4 0,1 0-4 15,-1 1 0-15,0 0-4 0,0 0 0 0,-3 2-4 0,3 0 0 0,-1 0-4 0,-1 1 0 16,0 0-4-16,1 0 0 0,-1 0-4 0,0 1 0 0,1-1 0 0,0 0 0 15,-1 0 0-15,3-1-4 0,-1 0 0 0,1 0 0 0,1-1 4 0,0 1-4 0,0-2-8 16,1-1-4-16,2 1 0 0,0-2-8 0,2 1-12 0,0-2-8 0,2-2-4 16,0 2-24-16,2-3-20 0,1 1 4 0,0-2 8 0,1 1 12 0,1-3 4 15,1 2 4-15</inkml:trace>
  <inkml:trace contextRef="#ctx0" brushRef="#br0" timeOffset="161419.2327">6770 7028 39 0,'7'1'48'16,"-1"1"-4"-16,0 0 4 0,-1-2-8 0,-1 0 4 0,0 1-4 0,-2-2 0 0,0 1 0 15,-2-2-4-15,-1-1-8 0,0 1 4 0,-1 0-4 0,-1-2-4 0,0 0-8 16,-2-1 4-16,0 1-8 0,-1-1 4 0,0-1-4 0,-2 0 8 0,1 0-4 16,-2 1 0-16,0-2-4 0,-1 2 4 0,-1-1-4 0,0 1 0 0,1 1-4 15,-3-1 0-15,2 1-8 0,-2 0 12 0,0 1-8 0,1 1 0 0,-2 1 0 0,1 0 4 16,-1 1-4-16,1 1 0 0,0-1 4 0,2 2-4 0,-1 1-4 0,1 0 4 15,1 1-8-15,1 1 12 0,0 1-4 0,2-1 0 0,1 2-4 0,1 0 4 0,2 1-4 16,1 0 4-16,1 0-4 0,2 0 4 0,0 1-4 0,2 0 4 16,2 0-4-16,0-1 4 0,3 1 0 0,1-2 0 0,0 2 0 0,1-2 0 0,2-1-4 15,0 0-4-15,3 1 4 0,-2-1 0 0,1-2 0 0,3 0 0 0,0 0 0 16,-1-1-4-16,1-1-4 0,0-1-8 0,1 0-8 0,-1-1-4 0,0-1-12 0,0 0-4 15,0-1-12-15,0-1-16 0,-2-1-12 0,2-1-8 0,-2 0 8 0,0-1 12 16,-1 0 8-16,0-2 4 0,0-1 8 0</inkml:trace>
  <inkml:trace contextRef="#ctx0" brushRef="#br0" timeOffset="161646.2457">7251 6683 11 0,'4'-5'28'0,"-1"2"0"0,0 2-4 0,-2 1 0 16,0 1 0-16,-1 1-4 0,0 2 4 0,-1 0 0 0,-1 1 0 0,-1 2 4 15,0 0 4-15,-1 1 0 0,-1 1 0 0,0-1 4 0,0 2-8 0,-1 0 0 0,0 1 8 16,-3 0 0-16,2 1 0 0,0-2-8 0,-1 4 4 0,-2-1-12 0,1 1 0 15,-1-1 8-15,-1 2 0 0,1 1-12 0,0-1 4 0,-1 0-4 0,1 0 4 0,-1 1-4 16,0-1-4-16,1-1 0 0,1 2 0 0,-1-2-8 0,1 1 4 16,0-3 0-16,2 1 4 0,-1 0-12 0,1-1 4 0,1-1 4 0,1-1-8 0,0 0 4 15,0-1-4-15,0-1 4 0,3 1-4 0,0-2 0 0,2-1 0 0,0-1-12 16,0 0 4-16,2-2-20 0,0 2 0 0,1-3-16 0,0-1-8 0,2 1-8 0,-1-2-32 15,1-2-8-15,0 1 8 0,0-1 8 0,1-1 12 0,0 1 8 0,0-3 4 16,-2 2 8-16</inkml:trace>
  <inkml:trace contextRef="#ctx0" brushRef="#br0" timeOffset="161955.2634">7477 6940 19 0,'5'-4'28'0,"0"1"0"0,-1-1-4 0,2 1-4 0,-2 2 0 0,1-1 0 16,-1 1 0-16,0 1 4 0,0 0-4 0,-1 2 0 0,0 1 0 16,1 0 0-16,-2 1-4 0,0 1 4 0,-1 1 0 0,-1 1-4 0,0 0 4 0,-2 1 4 15,0 2 4-15,0-1-8 0,-3 2 0 0,1 1 4 0,-1 0 4 0,-1 1-8 16,0 0-4-16,-3 0 4 0,1 1-4 0,-1 0 8 0,0 0-4 0,-2 0 4 0,0 1-8 15,-1-1 0-15,0 0-4 0,-1 1 0 0,-1-3 4 0,1 2-4 0,-1-1-8 16,0-1 8-16,-1-1-4 0,1 2 0 0,-1-3 0 0,1 1 0 0,-1-2-4 16,1 0 4-16,1-1-8 0,-1 0 4 0,1 0 0 0,0-2-8 0,2 0 8 15,0-2-4-15,0 1-4 0,1 0 4 0,1-3-4 0,0 2-4 0,2-2-8 0,0-1-4 16,1 1-12-16,-1-2-12 0,3 0-12 0,0 0-20 0,0-2-16 0,2 1 0 15,1 0 12-15,0-2 4 0,2 1 12 0,0-2 8 0,1 2 4 0</inkml:trace>
  <inkml:trace contextRef="#ctx0" brushRef="#br0" timeOffset="162597.3001">7752 7153 23 0,'12'-2'48'15,"0"0"-8"-15,-2 0 0 0,-1 1-4 0,1 1-4 0,-2-1 0 0,-2 2-4 16,0-1 0-16,-2 1 0 0,0 1 0 0,-1 0-4 0,-1 0 8 0,-2 1-4 15,-1 1-4-15,-4 0 0 0,1 0 4 0,-1 2-4 0,-2-2 4 0,-1 1 0 0,-3 1 0 16,1 0-8-16,-1 1 4 0,-3-1-4 0,1 2 4 0,-2 0 4 0,2 0-4 16,-4 0-4-16,1 1 0 0,-2 0-4 0,2 1 0 0,-3 0-4 0,0 0 4 15,0 1-4-15,0-2 0 0,0 3-4 0,-1-2 0 0,1 0 0 0,0 2 0 0,1-3-8 16,1 1 4-16,0 0 0 0,-1 0 0 0,3 0-4 0,1-2 0 0,0 1 0 15,2-1-4-15,0-1 8 0,1 0-4 0,2 0-8 0,-1-1 0 0,3 0 8 0,0 0 0 16,1-1 4-16,0 0-12 0,2-1 4 0,2-1 0 0,0 0-4 16,2-2-4-16,0 2-4 0,2-3-8 0,-1 1-8 0,2-1-4 0,2-1 0 0,-1 1-4 15,0-1 0-15,2-1 4 0,0 1 0 0,-1 0 4 0,4-1 4 0,-3 1 0 16,2-1 4-16,-1 0 4 0,2 0 4 0,0 2 0 0,-1-1 0 0,1-1 4 0,1 2 0 15,-1-1 4-15,0 1 0 0,2 0 4 0,-2 1 0 0,0-1 0 0,2 2 0 16,-2-1 4-16,0 1 0 0,1 0-4 0,-1 1 4 0,0 0 0 0,-1 1 4 16,2 1 0-16,-2 0 0 0,-1-1 0 0,1 1 0 0,1 1 0 0,-2-1 4 15,1 0 4-15,-1 2-4 0,1-2 4 0,0 2 0 0,-1-1 0 0,0 1 0 0,2-3 4 16,-2 2 0-16,1 0 4 0,2 0-4 0,-2-1 8 0,1 0 0 0,0 1-8 15,2-2-8-15,-1 1 8 0,1-1 4 0,1-1-8 0,0 1-4 0,1-1 4 0,-1-1 0 16,3-1 4-16,-2 1-4 0,1 0 0 0,0-2 0 0,0 1-4 0,1-1-4 16,0-1 4-16,0 1 0 0,0-2 8 0,0 1-8 0,-1-1 4 0,1 0-4 15,-1-1 0-15,1-2 4 0,-2 2-4 0,0-1 4 0,1-1 0 0,-3 0 0 16,1-1 4-16,-2 0-4 0,-1 0 0 0,1-1 0 0,-2-1 0 0,-2 1 0 0,-1-1 4 15,0 0-8-15,0 1 4 0,-4-1-4 0,0 0 0 0,-1-1 0 0,-1 2-4 16,-1-1 4-16,-3 1-4 0,1 0 4 0,-1 0 0 0,-1 1-4 0,-2 0 0 16,-2 1 0-16,1 0 0 0,-1 0-4 0,-3 2 4 0,0 1 0 0,-1 1-4 0,0 1 4 15,-2 0 0-15,2 1 0 0,-3 1 0 0,1 1-4 0,-2 2 0 0,2 1 0 16,-1-1 0-16,0 2 0 0,1 1 0 0,-1 1 4 0,1 1 0 0,1 1 0 0,-1-1 0 15,2 2 4-15,0-1-4 0,2 1 4 0,-1 0 0 0,3 1 0 0,0 0 0 16,1 0 0-16,1 1 0 0,3-1 0 0,1 1 0 0,1-1 0 0,2 0-4 16,2-1 0-16,2 1 0 0,1-1 0 0,1-1 4 0,3 1 0 0,2-1-4 15,0-1 0-15,0 1 0 0,4-2 4 0,-2 0-4 0,2 0 0 0,0-1-4 0,1 1 4 16,-1-3 0-16,1 1-4 0,-1 0-4 0,2-1 0 0,-2-1-4 0,0 1-8 15,1-2-12-15,-2 0-12 0,1 1-12 0,-2-2-24 0,1 0-20 0,-3-1-44 0,0 2 8 16,0-3 16-16,-4 2 16 0,1-2 8 0,-3 0 4 0,-1 0 12 0,-1 0 8 16,-1 0 8-16</inkml:trace>
  <inkml:trace contextRef="#ctx0" brushRef="#br0" timeOffset="163196.3343">8430 8069 23 0,'0'-4'40'0,"-1"0"4"15,0 1 0-15,1-1 0 0,-1 1-8 0,0 1 4 0,0-1 0 0,1 0-4 0,-1 0 0 16,1 1 0-16,-1 0 0 0,1-1-4 0,0 1-4 0,-1 0-8 0,1 0 0 15,0 1-4-15,0-1 0 0,1 2 4 0,-1 0 0 0,2 0 0 0,0 0-4 0,0 0 8 16,1 2 4-16,1-1 0 0,0 3 0 0,1-2 4 0,1 1 0 16,-1 3 4-16,2-2-4 0,0 1 0 0,2 0-4 0,1 0 0 0,-1 3 0 0,2-2-8 15,1 1 4-15,0 1-4 0,1-1-4 0,0 2 0 0,0-1 0 0,2 0 0 16,0 2 0-16,1 0 0 0,-1-2-4 0,1 1 0 0,-1 1-4 0,1-2 4 0,-2 1-4 15,1 1-4-15,-1-2 4 0,0 1 0 0,-1-2-4 0,0 0 4 0,-2 0-4 16,0-1 0-16,1 1 0 0,-2-2 0 0,-1 0 0 0,0-1-4 0,-2 0 0 16,0 0 0-16,-2-1 0 0,0 0-4 0,0-1-4 0,0 0 0 0,-3 0-4 15,0-1-8-15,-1-1-8 0,1 0-4 0,-1 0-16 0,-1 0-20 0,0-1-12 0,0-1-24 16,0 1-32-16,0-1 12 0,0 0 12 0,-1 0 12 0,1 0 16 0,0-1 0 15,1 0 16-15,0 1 4 0,-1-1 8 0</inkml:trace>
  <inkml:trace contextRef="#ctx0" brushRef="#br0" timeOffset="163753.3662">9481 8211 39 0,'18'-7'44'0,"-3"2"0"0,1-2-8 0,-2-1-4 0,-1 0 0 0,1 0 0 15,-1-2-4-15,0-1-4 0,-2 2 0 0,0-3 0 0,0 1 0 0,-1-1-4 16,-1-1-4-16,1 0 4 0,-2 0 0 0,0 0 4 0,0-2 0 0,-2 3-4 0,-1-1 12 15,0 1-4-15,-1-2-8 0,-1 3 4 0,1-1-8 0,-2 1 8 0,1 0-8 16,-2 2 0-16,0-1-8 0,-1 2 4 0,-1 1 0 0,-1 0-4 0,-2 0 4 16,0 3-4-16,-1 0-4 0,0 1-4 0,-2 1 8 0,-1 2-8 0,-1 0 8 15,-1 3 0-15,-2 1 0 0,1 0 0 0,-2 2 0 0,-1 2 0 0,0 1 4 0,-2 2-4 16,1 1 4-16,-2 2 4 0,0 0 0 0,-1 3 0 0,1 1 0 0,-2 2 0 15,0 0 0-15,0 2-4 0,-1 2 0 0,0 0-4 0,2 1 0 0,-1 0 0 0,0 2 0 16,1 1 0-16,-2 0 4 0,3 0 0 0,-1 1 4 0,1-1 0 16,-1 2 0-16,2 0 0 0,0-1 4 0,2 0-4 0,-1-2 0 0,2 2 0 0,-1-1-4 15,3-1 4-15,-1-2-4 0,2 0 0 0,1-2-4 0,0-1 4 0,-1-2 0 16,3-1 0-16,0-1 8 0,0-2 0 0,-1-1-12 0,3-2 8 0,0-1 0 0,-1-2-4 15,0 0 0-15,0-2 0 0,2-3-4 0,-1 1 0 0,0-2 0 0,1-1-4 16,-1-3-12-16,0 0 4 0,2-2 0 0,0-2 8 0,0 1-4 0,-1-2 4 16,0 1-8-16,1-4 4 0,0 0 0 0,-1 1-4 0,0-2-4 0,1-1 0 0,0 0 0 15,0-1 4-15,1 0-8 0,-2-1 8 0,2-1-4 0,0 1 0 0,1-2 0 16,-1 1 0-16,1-1 0 0,0 0 4 0,1 0-4 0,1 0 0 0,0-1 4 15,1 2-4-15,0 0 4 0,1-1 0 0,1 1 0 0,0 0 0 0,1 0 0 0,1 3 0 16,-1-2 0-16,1 2 4 0,1-1 0 0,0 1-4 0,1 2 0 0,1 0 4 16,-1 0 0-16,2 2 0 0,-1 0 0 0,0 2 0 0,1-1 4 0,0 2-4 15,1 1 4-15,0 1 0 0,0 0 0 0,1 2-4 0,-1 0 4 0,1 2 0 0,-1 0 0 16,2-1 0-16,-2 3 0 0,2 0 4 0,-2 0 0 0,0 0 0 0,1 1-4 15,-1 1 4-15,0 0-4 0,0 0 0 0,0 0-4 0,-1 0 8 0,1 0-4 16,-2 1-4-16,1-1 8 0,0 1-8 0,-1-1 8 0,0 0-8 0,1 0 0 16,-3-1 0-16,0 1 4 0,1-2-4 0,-1 2 0 0,0-2 0 0,-2 0 0 0,0-1-4 15,0 0 0-15,0 0 4 0,0-1-4 0,-1-2-8 0,0 3-8 0,-1-3-16 16,0 1-12-16,0 0-24 0,-1-2-20 0,0 0-28 0,0 0-28 0,-1 0 16 0,1-2 12 15,-1 1 16-15,-1-1 12 0,0 1 8 0,0 0 8 0,0-2 8 0,-1 2 8 16,-1 0 8-16</inkml:trace>
  <inkml:trace contextRef="#ctx0" brushRef="#br0" timeOffset="164626.4161">10464 8560 31 0,'6'0'28'0,"0"1"0"16,0-1 0-16,-1 1-4 0,0 0 0 0,-1 0 0 0,-1-1 4 0,0 0 0 0,0 1-4 15,-1-1 0-15,-1 1 0 0,0-1-4 0,-1 0 0 0,-1 0 0 0,-1 0 0 16,0 0-4-16,-1-1 0 0,-1 1 0 0,-1 0-4 0,-1 0 4 0,-2 0 0 0,1 0 8 15,-1 0-8-15,-1 0 4 0,-3 0-4 0,2 0 0 0,-4 0-4 0,1 1 4 16,-3-1-4-16,1 0 0 0,-3 1-8 0,0 0 8 0,-3-1 0 0,-1 1-4 16,0-1 0-16,-2 0 0 0,-3 0 4 0,0 0-4 0,-2 0 0 0,-1 0 0 15,-2 1-4-15,0-1 8 0,-2 0-12 0,1 0 8 0,-3 0-4 0,0 1 4 0,-1-1 0 16,0 0 4-16,-1 0-8 0,0 0 0 0,-1 1 4 0,0-1 0 0,0 2 0 15,0-2 4-15,-1 0-8 0,1 1-4 0,0 0 4 0,-1-1 0 0,0 1 0 0,1 0 4 16,0 1-4-16,1-1 0 0,-2 0 0 0,2 0 0 0,1 1 4 16,-1 1 0-16,1-2-4 0,0 2 0 0,1-2-4 0,0 2 4 0,1-1-4 0,-2 0 4 15,3 1-4-15,-1-2 4 0,1 3-4 0,0-2 0 0,-1 1 4 0,1-1-4 16,-1 0 4-16,1 1 4 0,-2-1-4 0,1 0-4 0,-1-1 0 0,1 1 8 0,-1 0-8 15,1 0 4-15,-1-1-4 0,0 1 8 0,1-1-4 0,0 1-4 0,1 0 0 16,0-1 4-16,0 1 4 0,1-2-8 0,0 2 0 0,1-1 8 0,2 0-4 16,-3 0 0-16,4 1-8 0,-1 0 4 0,0-1 0 0,2 1 0 0,-1-2 0 15,1 3 0-15,1 0 4 0,1-2 0 0,-1 2 0 0,2 0-4 0,0-1 0 0,1 1 0 16,0 0 0-16,0 0 4 0,1 0-8 0,-1 1 4 0,1 0 0 0,0 0 0 15,-1-1 4-15,1 2 0 0,0-2-4 0,-2 3 0 0,1-3 8 0,0 2-8 0,-1-1 4 16,1 1-4-16,-2-1 4 0,1 1-4 0,1-1 0 0,-2 1 0 0,1-1 0 16,-1 0 4-16,0 0-4 0,1 1 0 0,0-2 4 0,0 2 0 0,0-1-4 15,0-1 0-15,0 1 4 0,2 0-4 0,-1 0 0 0,1-1 0 0,0 0 0 0,2 1 0 16,0-2 0-16,0 1 0 0,2 0 0 0,-1 0 4 0,1 0-4 0,1-1 0 15,0 2 0-15,2-2 0 0,-2 1 0 0,2-1-4 0,-2 1 4 0,3-1 0 0,-2 1 0 16,3 1 0-16,-3-2 0 0,1 1-4 0,1-1 4 0,1 1 0 16,-2 0 0-16,1 0 4 0,0 0-4 0,1 0 0 0,-2 0 0 0,2-1 4 0,-1 2 0 15,1-2-4-15,-1 1 0 0,1 0 0 0,-1-1 0 0,2 1 0 0,-2 0-4 16,2 0 4-16,-1-1 0 0,1 1-4 0,0-1 4 0,0 0 0 0,-1 1 0 0,1-1 0 15,1 0 0-15,0 0 0 0,-1 0 0 0,1 0 0 0,-1-1 0 0,1 2 0 16,0-2 0-16,-1 1 0 0,1-1 0 0,-1 0 4 0,0 2-4 0,0-1 0 16,1-1 0-16,-1 0 0 0,-1 2 0 0,1-1 0 0,0-1 0 0,0 2 0 15,-1-1 0-15,2 0 0 0,-2 1-4 0,1-2 4 0,0 2 0 0,0 0-4 0,0-1-4 16,2 1 0-16,-1 0-4 0,1 0 4 0,-1 0-4 0,3-1-4 0,0 1 0 15,1-1-4-15,0 0-8 0,1 1-12 0,2-2-12 0,1 1-8 0,1 0-20 0,0-1-28 16,3-1 4-16,1 0 12 0,1-1 12 0,1 0 8 0,2-2 8 16,1 2 8-16,1-3 4 0</inkml:trace>
  <inkml:trace contextRef="#ctx0" brushRef="#br0" timeOffset="165168.4471">5790 7175 3 0,'5'-4'32'0,"0"1"-4"0,1 2 0 0,-1-1-4 16,0 1 0-16,1 0-4 0,0 1 0 0,0 1 0 0,0 0 0 0,1 2 4 16,-1-1-4-16,1 2 4 0,1 0-4 0,0 1 4 0,1 1 0 0,-1 0-4 15,3 2 4-15,-2 0 4 0,2 2-4 0,2 0 0 0,0 2 0 0,2 1 0 0,-1 1-4 16,3 1-8-16,0 1 0 0,3 1 4 0,1 1 0 0,-1 2-8 0,3 1 12 15,1-1-8-15,1 1 4 0,-1 1-8 0,3 1-4 0,-1 0 0 0,1 0 0 0,1 1 12 16,1-1-4-16,-1 1-4 0,1-1 0 0,0 1 4 0,1-2 0 16,-2 0-4-16,1 0-4 0,-2 0 0 0,0-1 0 0,-1 0-4 0,-1-1 8 0,0-1 0 15,-3-1-4-15,0-1-4 0,-1-1 4 0,-3-2 0 0,0 0 0 0,-2-1 0 16,-2-1-4-16,-3-1 0 0,0-1-4 0,-3-1 8 0,-1-1-4 0,-3 0-12 0,-2-2-16 15,-1-1-12-15,-2 0-12 0,-1-2-24 0,-3 0-24 0,-2-1 4 0,-2-2 8 16,-1 0 12-16,-3 0 8 0,-1-2 8 0,-2-1 0 0</inkml:trace>
  <inkml:trace contextRef="#ctx0" brushRef="#br0" timeOffset="165497.466">4432 7359 27 0,'7'9'28'0,"4"1"0"15,0 1 0-15,3 1-4 0,1 0 0 0,4 2 0 0,-1 0-4 0,6 2 0 16,0-1 0-16,4 2-4 0,-1 0 0 0,6 1 0 0,0 1-4 0,2 1 0 0,1-1 0 15,3 3-4-15,1-1 0 0,2 2 0 0,1 1 4 0,3 1 0 0,-1 0-4 16,2 2 0-16,0 0 0 0,1 0-4 0,0 1 0 0,2-1 0 0,0 1 4 16,-1 0 0-16,2 0 0 0,-2-1 0 0,1 0 0 0,0 1 0 0,-2-3 0 15,-1 1 0-15,-1-1 0 0,0-1 0 0,-3-1 0 0,-3-1 0 0,0-1 0 0,-3 0 0 16,-2-1 0-16,-1-2 0 0,-3 0-4 0,-1-2 4 0,-3 0-4 0,-1-2 4 15,-1-1-8-15,-4 0 0 0,1-2 4 0,-3-1-4 0,-2 0 4 0,-1-1-4 0,-2-3 4 16,-2 1-8-16,-2-3-12 0,-2-1-16 0,-1-1-28 0,0-2-24 16,-2-1 0-16,-1-2 8 0,-2 0 8 0,1-2 4 0,0-2 8 0</inkml:trace>
  <inkml:trace contextRef="#ctx0" brushRef="#br0" timeOffset="167707.5924">5778 5702 19 0,'1'-2'32'0,"0"0"0"0,0 1-8 0,1-1-4 0,0 1 0 0,0 1-4 16,2 0 0-16,-1 1 0 0,2 1 0 0,1 0-4 0,0 1-4 0,1 1 0 0,2 1 0 15,1 2-8-15,1 0 8 0,1 0 0 0,2 3 0 0,1 1 0 0,4-1 0 16,1 2-4-16,1 2 0 0,3 1 4 0,1 1 0 0,4-1 0 0,1 3 4 16,2 0 0-16,2 2 0 0,2 0 0 0,3 1 0 0,2 2-4 0,2 0 0 15,2 2 0-15,2 0 0 0,3 0 0 0,0 1 0 0,2 2 0 0,1 1 0 0,2 0 4 16,-1 2-4-16,2-1 0 0,0 2 4 0,1 1 0 0,0-1 0 0,-1 2 0 15,1 0 4-15,-1 2-4 0,1-2-4 0,-1 2-4 0,-1 0 12 0,0 1-8 0,-1-1 0 16,2 0 0-16,-3 0 0 0,1 2 8 0,-2-1-4 0,1-1 8 0,0 2-4 16,-3-1-4-16,0 0 0 0,-2 0 0 0,1 1 0 0,-3-1 0 0,1 1 0 15,-2-1-8-15,1 0 8 0,-3-1 0 0,3 0 4 0,-3-1-4 0,2-1-8 0,-2 0 8 16,0-1 4-16,2-1-8 0,-2-1 0 0,0 0-4 0,-1-1 0 0,0-1 4 15,0 1-4-15,-1-2 0 0,-2 0 0 0,1-2 8 0,-2 1-8 0,-1-1 0 16,-2-1-8-16,0 0 8 0,0-2-8 0,-2 0 8 0,-2-1 0 0,-1-2-4 16,0 1 8-16,-3-1 0 0,0-2-4 0,-1 0-4 0,-1-2 0 0,-2 1 0 0,-2-2 0 15,0-1 0-15,-2 1 4 0,-3-2 0 0,1 0-4 0,-3-1 0 0,0-1 0 16,-3 0 0-16,0 0 4 0,-1-1 0 0,-1-1 0 0,-2 1 0 0,0-2 0 0,-1 0 0 15,-1 0 0-15,0-1 0 0,-1 0-4 0,0 0 4 0,-1-2 0 0,-1 1-4 16,2-2 0-16,-2 1 0 0,0 0 4 0,0-1-4 0,-2-1 0 0,2-1-4 16,-1 1-4-16,0-1 4 0,0-2-4 0,-1 2-8 0,0-2-16 0,0 0-8 15,1-2-16-15,-1 0-8 0,1 1-20 0,-2-3-24 0,1 1 4 0,-1-2 12 0,1 0 16 16,-2 0 4-16,0-1 4 0,0-1 12 0,-1 0 4 0</inkml:trace>
  <inkml:trace contextRef="#ctx0" brushRef="#br0" timeOffset="168712.6499">9797 8799 11 0,'7'0'44'0,"2"1"-4"0,-3 0-4 15,2 0 0-15,-2 1 0 0,2 0 0 0,-2-2-4 0,0 2-4 0,1 0 0 0,-2-1 4 16,1-1-4-16,-1 2 0 0,0-1 0 0,-1 0-8 0,0 1 8 0,0-1 0 15,-2 0-8-15,1-1 8 0,-1 0-4 0,-1 0-4 0,0 2 4 0,-3-1-8 16,0-1-4-16,-2 2 8 0,0-2 4 0,-2 2-8 0,0-2 0 0,-2 2-8 16,-1 0 8-16,-1-1-8 0,0 1 4 0,-3-1 0 0,0 2 4 0,-1-2-4 0,-1 1-8 15,-1 1 4-15,-1-2 4 0,0 1-8 0,-1 1-4 0,-1-1 4 0,-2 0 0 16,2 1 0-16,-2-1 0 0,-1 0-4 0,1 1 8 0,-1-1-16 0,0 0 12 0,0 0-4 15,1 1 0-15,-1-3 0 0,3 3 0 0,-2-1 0 0,2-1-4 16,1 1-4-16,1 0 4 0,0-2 0 0,1 1 0 0,3 0-8 0,-1 0-8 0,2-1-4 16,0 0 0-16,2 2-16 0,1-4-8 0,0 2-4 0,3 0-16 0,0-1-20 15,2-1-4-15,1 1 8 0,1-2 8 0,1 1 12 0,1 0 8 0,1-1 4 0,1-1 8 16</inkml:trace>
  <inkml:trace contextRef="#ctx0" brushRef="#br0" timeOffset="168947.6633">9476 8743 11 0,'14'-8'56'0,"1"0"-8"0,-2 2-4 0,2-1-4 0,-2 1-4 0,-1-1-4 15,1 2-4-15,-1 1-4 0,-1-1 0 0,0 2 0 0,-1 0-4 0,0 1 0 16,-2 2 4-16,0 0 4 0,-1 2-8 0,0 0 4 0,-3 1 0 0,0 0-12 0,-1 2 8 15,-1 0-4-15,-1 0-8 0,0 2 12 0,0 1-4 0,-1 0 0 16,-1 0 4-16,0 2-8 0,0 1 4 0,0 0-8 0,-1-1 4 0,1 3-4 0,-2 0 0 16,1 0 0-16,0 1 0 0,0-1 0 0,-3 2 0 0,3-1-4 0,-1 1 4 15,0-1 0-15,0 2 0 0,0-2-4 0,0 0 0 0,0 1-4 0,0-1 4 0,1 0 0 16,-1-2 0-16,2 1 0 0,-2-1 4 0,1 0-8 0,1 0 0 0,-1-1-4 15,1-2 8-15,0 1 4 0,0-1-8 0,0-1 4 0,1 0-4 0,-1-1 0 16,0 0 4-16,2-3-8 0,-2 1 8 0,2 0-8 0,-1-4 0 0,1 2-4 16,-1-1-12-16,1-3 0 0,-1 0-8 0,0-2-8 0,0 1-4 0,0-2-4 0,-1-1-12 15,-1 0-8-15,2-2-16 0,-2 0-4 0,0-1 4 0,-1 0 8 0,0-2 12 16,0 0 8-16,-1 0 4 0</inkml:trace>
  <inkml:trace contextRef="#ctx0" brushRef="#br0" timeOffset="169167.6759">9501 8851 23 0,'-6'-11'36'16,"0"-1"-4"-16,1 3 0 0,0-2-8 0,1 2 0 0,1 0-4 0,-1 1 0 0,1 1-4 15,2 2 4-15,0-1-4 0,1 2 0 0,1 0 0 0,2 1 0 0,1 1 0 16,1 1 0-16,0 1 0 0,2 1 0 0,0 1 0 0,3 2 0 0,-1 0 0 0,2 0 0 15,1 2 0-15,0 0 4 0,1 2-4 0,0-1 8 0,0 0 0 16,3 2-8-16,-2 0 0 0,3 0-8 0,-2 1 8 0,2-1-4 0,0 2 0 0,0 0 0 16,1-1 0-16,-2 1 4 0,2 1-4 0,-2-2 0 0,1 1 0 0,-1 0-4 15,0 0 8-15,-2-1-4 0,0 1-4 0,0-1-4 0,-1-1 0 0,-2 0 0 0,1-1 0 16,-1-1 0-16,-2 1 0 0,0-1 4 0,0-2-4 0,-3 2 0 0,1-2 0 15,-1 0-4-15,-1-2 0 0,0 1 0 0,-3-1 0 0,1-2-4 0,-3 1 0 16,1-2-12-16,-2 0 0 0,0 0-12 0,-2-2-12 0,-1-1-12 0,-1 0-24 16,0-1-28-16,0 1 12 0,-2-4 12 0,0 1 8 0,-2-1 4 0,1 0 8 0,-1 0 8 15</inkml:trace>
  <inkml:trace contextRef="#ctx0" brushRef="#br0" timeOffset="170402.7465">5842 5648 27 0,'2'-3'36'0,"0"-1"-4"15,-1 1-4-15,0-1-4 0,-1 1-4 0,1 0 0 0,-1 1-4 0,0 1 0 16,0-1 0-16,-1 2-4 0,1 0 0 0,0 2 0 0,1-2 0 0,0 3-4 0,0-1 4 16,0 0 0-16,1 2 4 0,1 0 0 0,0 0 0 0,2 0 0 15,1 2 0-15,-1-1 0 0,2 2 0 0,0-1 0 0,2 1 0 0,0 2 4 0,1-2-8 16,1 1 0-16,-1 0 4 0,1 1-4 0,2 0-4 0,-2 0 0 0,3 0 0 15,-2-1 0-15,0 2-4 0,2-3 4 0,-1 2 0 0,1-1 4 0,-2 0-4 0,0 0-4 16,2 0 4-16,-2-1-4 0,0-1-4 0,-1 0-4 0,-1 0 4 0,1-1 4 16,-3 1-8-16,0-1-4 0,-2 0 4 0,1-1 0 0,-3 0-12 0,-2 0-8 15,0-2-8-15,-2 2-16 0,-2-3-24 0,0 1-12 0,-2 0 4 0,-2-2 12 16,0 0 8-16,-1 0 8 0,-2 0 4 0</inkml:trace>
  <inkml:trace contextRef="#ctx0" brushRef="#br0" timeOffset="170795.769">5729 5760 7 0,'-3'3'16'16,"0"1"0"-16,0 1 0 0,0 1 0 0,-2 0 0 0,1 1 4 0,-1 1 4 0,0-1 0 16,0 2-4-16,0-1-4 0,-2 3 4 0,-1-2 0 0,0 3-4 15,-1 0 4-15,-1 1-4 0,-1 0 0 0,0 1-4 0,-2 1 0 0,1 1 0 0,-3 0-4 16,1 1 4-16,-2 0-4 0,1-1 0 0,-3 2 0 0,2-1 0 0,-2 1-4 15,2-1 4-15,-2 1-4 0,1-1 0 0,-2 0 0 0,2-1 0 0,1 1 0 0,-2-1 0 16,2 0 0-16,-1-1 0 0,3 0 0 0,-2 0 0 0,2-1 0 0,0-1-4 16,1-1 4-16,0 1-4 0,2-1 4 0,0-2 0 0,2 0 0 0,-1 0 0 15,3-1-4-15,-1-1 0 0,3-1 4 0,-1 0 0 0,2 0 4 0,-1-2-4 16,3 1 4-16,0-1-4 0,0-1 4 0,1 0-4 0,0 0 0 0,1 0 4 0,1-1-4 15,1 0 0-15,-1 0 4 0,2 0 0 0,0 0 4 0,0 0-8 0,2 0 0 16,1 0 0-16,0 0 4 0,0 1 0 0,0 0 0 0,2 0 4 0,1 1-4 0,-1 0 0 16,2 0 0-16,0 2-8 0,0-1 4 0,1 0-4 0,2 2 8 15,-2 0 0-15,2 0 0 0,0 1 0 0,0 0-4 0,2 1 0 0,-1 0-8 0,1 0 4 16,-1 1 0-16,1-2-4 0,0 3 0 0,0-1 0 0,0 0 4 0,0-1 0 15,-2 2 4-15,1-2 0 0,-1 0 0 0,-1 1 4 0,1-1-4 0,-1 0 0 0,0-1 4 16,-2 0-4-16,0 0-4 0,1-1-4 0,-3-1 4 0,0 0 8 0,0-1-12 16,0 1 4-16,-2-2 0 0,-1 0 4 0,1-1-4 0,-2 0-4 0,0 0-4 15,1-2-8-15,-2 0-16 0,-1-1-12 0,1 1-24 0,-2-1-24 0,0-1 0 0,0-1 12 16,0 1 12-16,-1-2 4 0,-1 1 8 0,1-1 4 0</inkml:trace>
  <inkml:trace contextRef="#ctx0" brushRef="#br0" timeOffset="171709.8213">9607 8243 27 0,'9'-8'44'0,"-1"1"-8"0,-1 0 4 16,0-1 0-16,0 1-4 0,-2-1 4 0,2 0 0 0,-1 1 0 15,-2 0-4-15,0 0-8 0,-1 0 4 0,0 1 0 0,0-1-4 0,0 1-8 0,-1 1 8 16,-1-1-8-16,0 1 0 0,-1 2-8 0,-1-1 8 0,0 1 4 0,0 0-12 15,0 1 4-15,-3 1 0 0,2 0-4 0,-1 1 0 0,0 2 0 0,0-1 0 0,-1 1 0 16,2 2 0-16,-1-1 0 0,-1 2 0 0,2 1 4 0,-2 0-4 0,1 2 4 16,1-1 0-16,0 2-8 0,0 2 0 0,1-2 0 0,0 1 4 0,-1 1-4 15,2 1-4-15,0 0 0 0,0 0 4 0,0 2 0 0,0-1 4 0,0 1-8 16,1 0 0-16,1-1 4 0,-1 3-4 0,2-3 4 0,-1 0-4 0,1 1 0 0,1-1 0 15,-1 2 4-15,1-3 0 0,0 1-4 0,0-1 4 0,-1-1-8 0,1 0 0 16,-1-1 8-16,1 1 0 0,0-1 0 0,-1-2 0 0,0 0 0 0,-1 1 0 0,0-2 0 16,-1 0 0-16,-1 1 0 0,-1-1 0 0,-1-1-4 0,-1 1 4 15,0-2-4-15,-3 2 0 0,0-1 4 0,-1-1 0 0,-1 2 0 0,0 0-4 0,-3-1 0 16,1 1 0-16,-2 0-4 0,0 0 0 0,-1 0 0 0,-1 0 0 0,0 1 0 15,-2 2 4-15,0-2-4 0,0 1 0 0,-2 1 0 0,1-1 4 0,-2 2-4 0,2-2-4 16,-2 3 4-16,2-3 0 0,-2 2 4 0,2 1-8 0,-1-3 4 0,1 4 4 16,1-3-4-16,0 1 0 0,2-2 0 0,-1 2 0 0,2 0-4 0,0-2 0 15,0 1 4-15,2 0 0 0,0-1 0 0,1-1 0 0,0 1-4 0,0-1 4 0,2-1-4 16,0 0 0-16,2 0 0 0,0 0-4 0,-1-3 4 0,3 1 0 0,0 0-4 15,0-1 0-15,1 0-8 0,0-1-4 0,1 0-4 0,-1-2-8 0,1 2 0 0,-1-2-12 16,1 0-4-16,-1-1-4 0,2 0 0 0,-2 0-4 0,1 0-8 0,0-1-4 16,0 0 0-16,-1-2-20 0,0 1 0 0,0-1 8 0,-2 0 12 0,1 0 8 15,-1 0 8-15,1-1 8 0</inkml:trace>
  <inkml:trace contextRef="#ctx0" brushRef="#br0" timeOffset="171899.8321">8909 8847 7 0,'-4'3'36'0,"2"0"4"0,0 0-8 15,1 1 4-15,1 0-4 0,0 1 0 0,0 0 0 0,1 0-4 0,1 1-4 0,0-1 0 16,0 2 0-16,1 0-4 0,2-1 4 0,-2 1-4 0,1 0 0 0,0 0-4 15,1 0 0-15,0-1 4 0,0 3-4 0,1-2-4 0,-1 0 0 0,1 0 0 0,0 0-4 16,0-1-4-16,1 0 4 0,0 0 0 0,-2 0-4 0,1-1 0 0,0-1 0 16,1 1 4-16,-2-2-8 0,1 2 4 0,-1 0 0 0,0-2 0 0,0 1-4 15,0-1 4-15,0-1-4 0,-2 1-4 0,0-1 0 0,1-1-8 0,-3 0-12 16,1 1-8-16,-1-2-16 0,-1 1-28 0,-1-2-8 0,-1 0 8 0,0 0 8 0,-2-1 8 15,-1 0 4-15,-2-1 8 0</inkml:trace>
  <inkml:trace contextRef="#ctx0" brushRef="#br0" timeOffset="172646.8749">6817 7575 15 0,'3'-4'24'0,"-1"0"-4"0,-2 1 0 0,2 0 0 15,-1 0-4-15,0 1-4 0,-1-2 0 0,0 2 0 0,0 0-4 0,0 0-4 16,-1 0 4-16,0 1 0 0,-1-1-4 0,1 2 4 0,-1 0-4 0,-1 0-4 0,1 2 0 16,0-2 0-16,0 2 0 0,-1 0-8 0,1 2-8 0,0-2-16 15,-2 1-20-15,2-1 4 0</inkml:trace>
  <inkml:trace contextRef="#ctx0" brushRef="#br0" timeOffset="174557.9842">3330 12212 3 0,'3'-1'12'0,"-2"-1"-4"0,2 1-8 0,-3-1-16 0</inkml:trace>
  <inkml:trace contextRef="#ctx0" brushRef="#br0" timeOffset="175766.0533">10133 9393 3 0,'3'-1'36'0,"-1"-1"0"0,1 1 0 0,-1 0 0 0,1-2-4 0,-1 1 4 16,0 0-4-16,-1-1 0 0,1 1 4 0,0 0-4 0,-1-1 0 0,1 0 0 15,-1-1-4-15,0 1 4 0,0 0-8 0,1-1 0 0,-1-1 8 0,0 1 0 0,0-1-4 16,1 0 0-16,-1 1 4 0,0-2-8 0,1 0 4 0,0 1 0 0,0-1-16 15,0 0 12-15,-1 0 0 0,0 0-4 0,0 0 0 0,0 0 0 0,0-1 0 16,-1 0 4-16,0 0-4 0,-1 0-4 0,0 0 0 0,-1 2 0 0,0-2 4 0,-2 0-4 16,0 2-4-16,-1-1 4 0,0 1-4 0,-3 0 0 0,0 1 4 15,-1 0-8-15,0 1 4 0,-2 1-4 0,-2 1 0 0,1 0 0 0,-3 2 0 0,1-1 0 0,-3 1-4 16,3 3 4-16,-4-1 0 0,2 1-4 0,-2 2 0 0,3 0 0 15,-2 1 0-15,-1 0 0 0,3 2 0 0,-2 0-4 0,1 2 4 0,2 0-4 0,0 0 0 16,1 0 4-16,1 2 0 0,2-1 0 0,1 2 0 0,1-2-4 0,2 2 8 16,2-1-4-16,2 1 4 0,3-2-4 0,1 2 0 0,3-2-4 0,1 0 4 0,4 0 0 15,1-1 0-15,1-1-4 0,4 1 4 0,0-2 0 0,2 0 0 0,2-1-4 16,0-1 0-16,2 0 0 0,0-1 4 0,2-1-4 0,-2 0 0 0,2-1 0 15,0-1 4-15,-1-1-4 0,0 1 0 0,0-2 4 0,-1 1-4 0,-1-1 0 16,1-1 4-16,-2 0 0 0,-2 0-4 0,2 0 0 0,-3-1 4 0,-2 0-4 0,0 0 0 16,-2 1 4-16,-2-1 0 0,0 0-4 0,-3 1 4 0,0 0-4 15,-3 0 0-15,0 0 4 0,-1 0-4 0,-3 1 4 0,0 0 0 0,-1 2-4 0,-1-1 4 0,0 1-4 16,-1 0 4-16,0 2-4 0,-3-3 0 0,2 3 4 0,-1 0-4 15,1 1 0-15,-1-2 8 0,-1 3-4 0,1-2 0 0,0 2 0 0,-1 0 0 0,0 0 0 16,1-1 0-16,-1 2 0 0,1 0 0 0,-1-1-4 0,0 2 0 0,0-1 0 16,1 0 8-16,0 1-8 0,1-2 0 0,-1 2 0 0,1-1 8 0,0 0-8 0,0 0 0 15,1 0 4-15,-1-1-8 0,2 0 8 0,0 2 0 0,-1-2-4 0,1 0 0 16,1 1 4-16,0-1-8 0,0 0 4 0,0 0-4 0,0-2 0 0,1 3 0 15,0-3-8-15,1 1 0 0,-1-1-8 0,1 0-4 0,1 0-4 0,-2 0-8 16,1-2-8-16,0 2-8 0,-1-2-12 0,1 0-16 0,-1 0-8 0,0 0-32 0,0-1-8 16,-1 0 8-16,-1-1 16 0,0 0 8 0,-1 0 8 0,0 0 12 0,-3 0 8 15,-2 0 8-15,0 0 8 0</inkml:trace>
  <inkml:trace contextRef="#ctx0" brushRef="#br0" timeOffset="179031.24">2908 11938 35 0,'-4'-6'32'0,"1"-1"-4"0,0 0 0 0,-1 0 0 16,1 0-4-16,0 0 0 0,0 0 0 0,1 0 0 0,-1 0 0 0,0 0-4 16,0 0 4-16,0 0 0 0,1 0 0 0,-1 2 0 0,1-2 0 0,0 1 0 0,0 1 0 15,0-1-4-15,0 1-4 0,2 1 0 0,-2 0 0 0,1 0-8 0,0 0 4 16,0 2 0-16,1-1-8 0,0 1 4 0,0 2-4 0,0-2 8 0,1 2 0 15,1 0-8-15,0 2 12 0,1 0-12 0,-1 1 12 0,2 0-12 0,1 1 8 16,0 2 0-16,3-1-4 0,0 1 8 0,0 0-8 0,3 3 12 0,0-2-4 0,3 1 4 16,1 2-4-16,2-1 0 0,2 1 4 0,1 1-12 0,1 0 4 0,1 0 4 15,3 1 0-15,0 0-8 0,2 0 4 0,-1 1 0 0,3-1 0 0,0 2 0 0,0-1 0 16,1 1 0-16,1-2 0 0,-1 3 0 0,1-2 0 0,-1-1 0 0,0 2 0 15,0-1 0-15,0-1-4 0,-1 0 0 0,-1 0 0 0,0 0 0 0,-2 0 0 16,0-1-4-16,-3-1 0 0,0 1 0 0,-2-2 4 0,-3 1 0 0,1-2-4 16,-4 1 4-16,0-1 0 0,-3 0 0 0,1-1 0 0,-3 0 0 0,-1-1 4 0,-1-1 0 15,-1 2 0-15,-1-3 0 0,-1 1 0 0,-1-1-4 0,-1-1 0 0,0 1-4 16,-1-2 0-16,-1 1 0 0,-1-1-4 0,-1-1-4 0,-1 0 0 0,-1 1-4 15,0-1-8-15,1-1-4 0,-2 0-12 0,-1 0-8 0,1 0-16 0,-1 0-16 0,1 0-20 16,-2-1-36-16,2-1 4 0,-1 1 8 0,1 0 16 0,0-1 8 0,1 1 8 16,0-1 12-16,0-2 8 0,0 2 8 0</inkml:trace>
  <inkml:trace contextRef="#ctx0" brushRef="#br0" timeOffset="180047.2982">7313 9007 31 0,'-1'-2'32'0,"0"0"-4"0,2 0-4 16,0 1-4-16,1-1 0 0,1 1-4 0,1-1 0 0,0 2 0 0,2-1-4 0,-1 0 0 15,3 1 0-15,0 0 0 0,0 0-4 0,2 1 0 0,1 0 0 0,0 1 0 16,2-1 0-16,1 1 0 0,1 1 0 0,1 1 0 0,3-1-4 0,1 2 0 15,1 1 0-15,3 0 0 0,1 1 4 0,1 1-4 0,3-1 0 0,1 0 4 0,2 1-4 16,3 2 4-16,-1-1-4 0,2 1 4 0,1 0-4 0,2 0 4 0,2-1-4 16,0 4 0-16,1-3 4 0,2 2 0 0,1 0-4 0,3 0 4 0,-1 0 0 0,4 1 0 15,1-1 0-15,-1 1 0 0,4-1 0 0,-1 2 0 0,1-2 0 0,0 1 0 16,2 0 0-16,-1 0 0 0,1 1 0 0,-1-1 0 0,2 0 0 0,-1 0 0 15,1 1 4-15,1-1-4 0,0-1-4 0,1 1 0 0,-1 2 4 0,1-3-4 16,0 1 0-16,0 0 0 0,0-1 0 0,-1 0 4 0,0 1-4 0,-1-1 8 0,-1 1-12 16,-2-2 4-16,-1 0 4 0,-1 1-8 0,-3-2 8 0,0 2-8 0,-2-2 12 15,-1 2-8-15,-2-3-4 0,-1 1 4 0,-2 0 4 0,1 0-4 0,-3 0-4 0,-1-1 4 16,-2 1 0-16,-1-1 4 0,-2 0-4 0,-1 0-4 0,-3 1 8 15,1-2 0-15,-3 2 8 0,0-1-12 0,-3 1 4 0,1-1 0 0,-1 0 4 0,0 1-4 16,-1 0-4-16,0-1 4 0,1 2 4 0,-1 0-12 0,1-2 8 0,1 1 0 16,-2 1 0-16,3-1 0 0,0 0-8 0,0 1 8 0,2-2 8 0,0 2-8 0,1-1 4 15,2 0-4-15,0 1 0 0,1-1 0 0,2 1-4 0,0-1 4 0,2-1 0 16,0 1 4-16,1 0-4 0,0 0 4 0,1-1-8 0,1 1 0 0,-1 0 4 15,0-1 0-15,1 0-4 0,-2 0 4 0,0-2-4 0,-1 3 0 0,0-3 0 16,0 1-4-16,-3 1 0 0,0-2 4 0,-2 1 0 0,-1-1-4 0,0 0 0 0,-2 0 0 16,-2 0 0-16,-1 0 0 0,-3-1 0 0,0 0 4 0,-1 0-4 0,-4 0 0 15,0-1 0-15,-1 1 0 0,-3-1 4 0,-1 1-4 0,-2-2 0 0,-1 0 4 0,-1 1-8 16,0 0 4-16,-3-2 0 0,0 1 0 0,-1 0-4 0,-1-1 0 0,0-1 0 15,0 1-4-15,-3 0 0 0,1 0-4 0,-1-1-4 0,-1 0-12 0,0 1-4 16,0-2-16-16,-2 2-12 0,0-2-16 0,-2 0-28 0,1 0 0 0,-1-1 8 0,0 1 12 16,-1-1 4-16,0 0 8 0,0 0 12 0,-2-1 4 0</inkml:trace>
  <inkml:trace contextRef="#ctx0" brushRef="#br0" timeOffset="180193.3065">12037 10521 7 0,'2'10'28'0,"1"0"0"0,-2-1-4 0,1 1 0 15,0-2-4-15,-2-1-4 0,0 1 0 0,0-2-4 0,0 1 0 0,0-2 0 16,-1-1 0-16,0 1-8 0,0-2-8 0,-1 0-24 0,1-1-28 0,-1-1 4 0,0 1 4 16</inkml:trace>
  <inkml:trace contextRef="#ctx0" brushRef="#br0" timeOffset="189000.8103">13312 8714 27 0,'-1'-3'28'0,"1"2"-4"0,0-1-4 0,0 0-4 0,-1 0 0 0,0-1 0 15,1 2 0-15,-1 0-4 0,1-1 0 0,1 0-4 0,-1 1 4 0,2 0-4 0,-2 0 0 16,3 1 0-16,0 0-4 0,1 0 0 0,-1 0-4 0,1 0 4 0,0 0 0 16,2 1 0-16,-1 0-4 0,2 0 4 0,0 0 0 0,-1 0 0 0,3 1 0 15,-1-1-4-15,0 0 4 0,1 1 0 0,0-1-4 0,1 1 0 0,-1-1 4 16,0 0 0-16,2 1-4 0,-2-1 0 0,0-1 4 0,1 2-4 0,-1-1 4 0,-1 0 0 15,0-1 0-15,1 1 0 0,-3 0 0 0,1 0 0 0,-1 0 0 0,0-1 0 16,-2 0 4-16,1 0-8 0,-3-1 8 0,0 1-4 0,-1-1-4 0,-1 0 4 0,-1 0 0 16,0 1 0-16,-2-2 0 0,-1 2-4 0,0-2 0 0,-2 1 0 15,1 1 0-15,-1-2 0 0,-1 1 0 0,1 0 0 0,-2-1 4 0,2 2 0 0,-1-1-4 16,0-1 0-16,0 2 0 0,0-1-4 0,1 0 8 0,0 1-4 0,0 0 0 15,0-1 0-15,0 0 0 0,1 1 0 0,0-1 4 0,1 2-4 0,1-1 0 0,-1 0 4 16,3 1 0-16,-2-1-4 0,2 1 0 0,2-1 0 0,0 2-4 0,2-2 4 16,-1 2 0-16,1-1 4 0,1 1 0 0,0-1-4 0,1 0 0 0,1 1 0 15,1-1 0-15,-1 2 0 0,1-1-4 0,0 1 4 0,1-1 0 0,0-1 0 0,0 2 0 16,0-1 0-16,2 2 0 0,-1-2 4 0,-1 2-8 0,1-1 8 0,0 0-8 15,0-1 4-15,-1 2 0 0,1-2 0 0,-1 1 4 0,-1 0-4 0,1 0 0 0,-1-1 0 16,-1 1 0-16,0-1 4 0,-1 0-4 0,0 0 0 0,0-1 0 0,-1 2 0 16,0-3 0-16,-1 2 0 0,-1-2 0 0,-1 2 0 0,0-2 0 0,-1 0 0 15,-1-2 0-15,0 2 4 0,-1-1-4 0,0 0 0 0,-1 0 0 0,-1-2 0 16,0 2 4-16,0-2-4 0,0 0 0 0,0 1 4 0,0 0-8 0,0-1 0 0,0 0 0 15,-1 2 4-15,2-2 0 0,-1 2-4 0,1 0-4 0,1 0-16 0,0 1-36 16,0 0-12-16,1 0 4 0,1 1 12 0,0 0 0 0</inkml:trace>
  <inkml:trace contextRef="#ctx0" brushRef="#br0" timeOffset="190065.8712">14116 8963 7 0,'-3'-5'12'0,"1"1"0"0,0 0 8 0,0 1 0 0,-1 0 0 16,1 1 0-16,0-1 0 0,0 2 0 0,2 1 4 0,-1-1-8 0,0 2 0 16,2 0 0-16,0 2 0 0,1-1 4 0,1 2-4 0,1-1 0 0,0 2 0 15,1 0 0-15,3 2-4 0,-1 0 0 0,1 0 0 0,2 1 0 0,0 0-4 16,0 1 0-16,3 1-4 0,-2-1 0 0,1 2 0 0,3-1 4 0,-2 0 0 0,2 1-4 15,-2 0 0-15,2 2 0 0,0-4-4 0,1 3 4 0,-1 0 0 0,1-1-12 16,-1 0 12-16,1 0 0 0,-2 0 0 0,1-1 0 0,-2 0 0 0,-1 0-4 0,1-2 0 16,-2 0 0-16,1 1 4 0,-3-2 0 0,0 0 0 0,1-1 0 15,-4 0 0-15,0-1 0 0,-1 0-4 0,-1-1 0 0,-1-1-4 0,-1 0-12 0,-1-1-24 16,-1 1-28-16,-1-2-8 0,-2 1 4 0,1-2 8 0,-2 0 4 0,-1-2 4 15</inkml:trace>
  <inkml:trace contextRef="#ctx0" brushRef="#br0" timeOffset="192775.0261">10692 10008 35 0,'0'0'36'0,"-1"0"-4"0,0-1-4 15,1 0-4-15,0 1 0 0,-1-2-4 0,1 1-4 0,0 1 0 0,0 0-4 16,0-2 0-16,-1 2 4 0,1-1 0 0,-1 1 0 0,1-1-4 0,-1 1 0 0,1 0 4 16,-1 0 0-16,1 1 0 0,-1 0-4 0,1 1 0 0,0-2 4 0,0 2 0 15,1 0 0-15,0-1 0 0,0 2 4 0,0-1 0 0,0 0 0 0,0 1 0 16,1 0 0-16,-1 0 0 0,1 1-8 0,2-1 16 0,-3-1-12 0,2 2 8 15,0 1-8-15,0-1 8 0,0-1 4 0,1 1-12 0,0 1 8 0,0 0 0 0,2 0 0 16,-1 1-4-16,1-1 0 0,-1 0 4 0,2 1-4 0,1 0 0 0,0-1-4 16,0 2 0-16,1-1 0 0,2 1 0 0,-2-2-4 0,1 2 4 0,2 0 0 0,-1-1 0 15,0 1 0-15,1 0-4 0,0-1 4 0,1 1 0 0,-1-2 0 16,0 2-4-16,1-2 4 0,-1 1-4 0,1 0 4 0,-1-1-4 0,-1 0 0 0,1 0 0 15,-1 0 4-15,2-1 0 0,-3 1-4 0,0-2 8 0,0 0-4 0,-1 0 0 16,0 0 4-16,-2 0 0 0,2-1 0 0,-3 0-4 0,0-1 4 0,0 1 0 0,-1-1 0 16,-2 0 0-16,2 0-4 0,-2-1 4 0,0 0 0 0,-1 1 0 0,-1-1-4 15,0-1 0-15,0 1 0 0,0 0 0 0,-1 0-4 0,0-1 0 0,1 0 0 0,-1 0-4 16,-1 1-4-16,1-2 0 0,0 1-4 0,0 0 0 0,-1 1 0 0,0-2 0 15,0 1-4-15,1-1-4 0,-1 2 0 0,0-1-8 0,0-2-4 0,-1 3-16 16,1-1-16-16,-1-1-8 0,-1 1-16 0,0 0-12 0,1 0-20 0,-2-1-24 0,1 1-24 16,0 1 12-16,-1-2 16 0,0 1 12 0,-1-1 12 0,1 1 12 15,-2 0 12-15,1 0 4 0,-1-1 12 0,0 2 8 0</inkml:trace>
  <inkml:trace contextRef="#ctx0" brushRef="#br0" timeOffset="193748.0818">2519 12821 35 0,'-4'-5'32'0,"1"0"-4"15,1 1-4-15,0-1 0 0,-1 0-4 0,2 2-4 0,1-1 0 0,0 0 0 16,3 1-4-16,-2 0 4 0,1 1-4 0,1-1-4 0,0 2 4 0,1-1-4 15,0 2 0-15,1-1 0 0,0 0 0 0,3 1 0 0,-1 1 0 0,0 0 0 0,2 1 0 16,1-1 0-16,1 2-4 0,0-1 0 0,1 2 4 0,0-1-4 0,3 1 0 16,-1 1 4-16,2-1-4 0,0 1 0 0,2-1 4 0,0 1-8 0,1 0 4 0,1 1 0 15,0-1-4-15,2 1 0 0,0-1 4 0,0 2 0 0,3-2-4 0,-1 1 4 16,1 0-4-16,1 0 4 0,0 0 0 0,-2 0 0 0,2 0-4 0,-2 0 0 15,1-1 4-15,0 0-4 0,-2 2-4 0,1-2 4 0,-2 0 0 0,-1 1 4 16,1-1-4-16,-1-1 0 0,-3 1 0 0,1 0 0 0,-1-1 4 0,-3 0-4 0,1 0 0 16,-2-1 4-16,0 1-4 0,-2-1 0 0,-2 0 0 0,1 0 0 0,-3 0 4 15,0-2-4-15,-3 0 4 0,1 2-4 0,-2-1 0 0,-2-1-4 0,0 0 0 0,-1 0 0 16,-1 0-4-16,0 0-4 0,-1-1-8 0,0 0-12 0,-2 1-12 15,1-2-24-15,-2 1 0 0,0 0 8 0,1 0 8 0,-1-1 4 0</inkml:trace>
  <inkml:trace contextRef="#ctx0" brushRef="#br0" timeOffset="194668.1344">2386 12703 3 0,'-8'-2'36'0,"1"1"-4"0,1-1-4 0,1 1 0 0,0 0 0 16,0-1-4-16,0 0-4 0,3 0-4 0,-1 1 0 0,2-2 0 0,1 1 0 15,1 0 0-15,1 0-4 0,1 1 0 0,3-1 0 0,2 0 4 0,0-1 0 0,1 2-4 16,3-1 0-16,1 0 0 0,2 1-4 0,0 0 4 0,3 1-4 0,0-1 0 15,1 1 0-15,3 0 0 0,0 1 0 0,2-1 0 0,2 2-4 0,0 1 4 16,2 0-4-16,2 1 0 0,0-1 0 0,2 1 0 0,1 1-4 0,2 0 4 16,0 1-4-16,1 0 0 0,1 0 0 0,1 2 0 0,-2 0 4 0,1-1 0 0,0 1-4 15,-1 0 4-15,1 0-4 0,-2 1 0 0,-1 1 0 0,0-1 4 0,-2 0-4 16,1 0 0-16,-3 0 4 0,0 0-4 0,-1 0 0 0,-1-1 0 0,-2 0 0 15,-1 0 0-15,-1 0 0 0,-1-1 0 0,-1-1 0 0,-3-1 0 0,0 0 0 0,-3 1 0 16,0-2 4-16,-3 0-4 0,0 0 0 0,-2-1 4 0,-1 0 0 0,-2 0-4 16,0-1 0-16,-3 1 4 0,-1-1-4 0,0-1 0 0,-1 1 0 0,-2-1 0 15,0 1-4-15,-2-1 0 0,0 0-12 0,-1-1-8 0,-1 1-4 0,1-1-28 0,-2 0-24 16,0 0 4-16,0-1 8 0,0 1 8 0,-1-1 8 0,-1 0 4 0</inkml:trace>
  <inkml:trace contextRef="#ctx0" brushRef="#br0" timeOffset="195471.1804">11510 10397 3 0,'9'-1'36'15,"-1"-3"0"-15,2 1-4 0,-2 0 0 0,-1 0-8 0,0 0 4 0,2 1-4 0,-3-2 0 16,1 1 0-16,-1 0 0 0,0 1 0 0,-1-1 0 0,-1 1 0 0,0-2 0 15,-2 2-4-15,1 0-4 0,-1 0-4 0,-1 0 4 0,-1 0 4 0,-1 1-4 16,-1 1 4-16,-1 0 0 0,-1 1 0 0,-2 1-4 0,1 0 12 0,-4 1-8 0,0 0 0 16,0 1 0-16,-2 2 0 0,0 0-4 0,-1 0 4 0,-2 1 0 0,2 1-4 15,-3 1 0-15,2 0 0 0,-2 0 0 0,0 1-4 0,0 1-4 0,1 1 0 16,-2 1 4-16,1-1 0 0,-1 1-4 0,3 2 0 0,-2-1 0 0,1 1 0 15,1 2 0-15,-2-1-4 0,4 0 4 0,-1 0-4 0,3 1-4 0,0 0 4 0,3-1-4 16,-1 1 0-16,2-2 0 0,2 2 0 0,0-2 4 0,3 1 0 0,0 0-8 16,1-1 12-16,2-1-8 0,0 1 0 0,1-1 0 0,2-1 0 0,1 0 0 0,-1 0-4 15,1-2 0-15,3 0-16 0,-2-1 4 0,1 0-12 0,0-2 4 0,1 1-8 16,0-2-4-16,0 0 0 0,1-1 0 0,0-1-4 0,-1 0 0 0,2-1-4 15,0 0 0-15,-2-1-16 0,3 0 0 0,-2-1-4 0,2 0-4 0,0 0 0 16,0-1 8-16,-1 0 8 0,1-1 4 0</inkml:trace>
  <inkml:trace contextRef="#ctx0" brushRef="#br0" timeOffset="195837.2013">11729 10935 19 0,'19'-4'36'0,"-2"1"-4"16,1-2 0-16,-1 0 0 0,1-2 0 0,-2 1-4 0,0 0-4 15,0 0 4-15,0-2-4 0,-2-1 0 0,0 0 4 0,-3 0-4 0,2 0 0 0,-3-3 0 16,-1 1-4-16,0 1 4 0,-3-1 4 0,0 0 4 0,-1 0-8 0,-3 0 0 16,0 0 0-16,-2 1-4 0,-1 0 4 0,-2 0 0 0,-1 1 4 0,-3-1 0 0,-1 2-4 15,-1 1 0-15,-2 0 0 0,-1 0 0 0,-1 2 4 0,-1 1-4 0,-1 1-4 16,-1 0-4-16,-1 2 4 0,0 1-4 0,0 1 0 0,-1 1-8 0,1 1 4 15,-1 2 0-15,1 0-4 0,0 0 0 0,1 3 0 0,-1-1 0 0,1 0-4 16,1 2 0-16,1 0 0 0,0 0 0 0,3 1 4 0,-1 0-4 0,2 1 0 0,3-1 0 16,0 0 0-16,2 0 0 0,1 0 4 0,3 0-8 0,2 0 0 0,1 0 0 0,2-1 0 15,4 0 4-15,-2-1-4 0,3 1 4 0,3-3-4 0,-2 1 0 0,3 0 0 16,1-2-4-16,-1 0 0 0,2 0 4 0,0-1 4 0,-1 0-4 0,1 0-4 15,2-1 4-15,-2 0 0 0,1 0 0 0,-1 0 0 0,1 0 0 0,-2-1-4 16,2 2 4-16,-2-2-4 0,0 1 4 0,-1-1 0 0,0 1 0 0,-1 0 0 0,-2 0 0 16,-1 0 0-16,1 1 4 0,-4 0 0 0,1 0-4 0,-2 0 4 0,-1 1-4 15,0-1 4-15,-1 2 0 0,-2-1-4 0,0 0 0 0,0 1 0 0,-1 1 0 0,0-3 0 16,-1 2 0-16,0 0 0 0,1 0 0 0,-1 1 0 0,-1-2 0 15,1 2-4-15,0-2 4 0,0 1 0 0,-1 0 0 0,0 0-4 0,2-1 4 0,-1 0 0 16,1 0 0-16,0-1 0 0,0 1-4 0,1-1-8 0,-1 0 0 0,1 0-4 16,2-1-4-16,-2-1-12 0,2 1-4 0,-1-2 0 0,1 2-8 0,0-3-4 0,0 2-4 15,1-2-4-15,-1 0 4 0,1 0 0 0,1-2-12 0,-2 2-8 0,1-1 0 16,1-1-8-16,-2-1 8 0,1 1 4 0,0-1 12 0,-1-1 8 0,2 0 4 15</inkml:trace>
  <inkml:trace contextRef="#ctx0" brushRef="#br0" timeOffset="195999.2106">12062 11056 15 0,'3'-5'36'0,"0"0"0"0,-1 0 0 16,2-1 0-16,-2 0-4 0,1 2 0 0,0 0-4 0,0-1-4 0,0 0 0 0,0 1 0 15,0 1 0-15,0 0 0 0,0 1-4 0,1-1 4 0,-1 1-4 0,1 0-4 16,1 1 0-16,-2 0 4 0,1 1-4 0,0 1-4 0,0 0 0 0,0 0 4 15,0 0-4-15,1 2 4 0,1-1-8 0,-1 1 4 0,0 1-8 0,1-2 8 16,1 4-8-16,1-3 4 0,-1 1 0 0,2 1 0 0,-1 0-12 0,3 0 12 0,-2 0-8 16,2 1 0-16,1 0 0 0,-1-1 4 0,2 1 0 0,-1-2-4 0,0 2 0 15,1-1-4-15,-2 1 0 0,2-1-4 0,-1-1-12 0,-1 0-8 0,2 1-8 0,-2-2-4 16,0 1-8-16,1-2-12 0,-3 0-24 0,1 0 8 0,0-1 8 15,-1-1 12-15,-1 0 8 0,2 0 4 0</inkml:trace>
  <inkml:trace contextRef="#ctx0" brushRef="#br0" timeOffset="196247.2247">12585 10854 3 0,'4'-5'44'0,"0"2"0"16,1-1-4-16,-1 1-4 0,-1 1 0 0,1 1-4 0,0 2 4 0,-3-1-4 16,1 3 0-16,-2 0 4 0,0 1 0 0,-1 0-8 0,0 1 0 0,-2 0 0 0,-1 1-4 15,0 1 0-15,-1-2-8 0,0 2 8 0,-1 0-4 0,0 0 0 0,0 0-4 16,-1 1 0-16,1 0 0 0,-2-1 0 0,1 2-8 0,-2 0 0 0,1 0 0 15,0 1 0-15,-1-1-8 0,1 0 12 0,-1 2-8 0,0-2 0 0,-1 1 0 16,1 0 4-16,1-1-4 0,-1 0 0 0,1 1 0 0,0-1-4 0,0-1 0 0,0 0-4 16,1 1 4-16,1-2 4 0,-1 1-12 0,2-2 0 0,-1 2 8 0,2-2 0 15,-1 0-8-15,1-1 4 0,0 0 4 0,2-1-8 0,-1 0 0 0,1 0-8 0,1-1-4 16,0-1-8-16,-1 0-4 0,4-1-8 0,-1-1 0 0,1 0-8 15,0 0-24-15,1-1-16 0,1-2 12 0,1 0 8 0,0 0 8 0,0-1 4 0,3-1 4 16</inkml:trace>
  <inkml:trace contextRef="#ctx0" brushRef="#br0" timeOffset="196656.2481">12868 10854 3 0,'11'-3'36'0,"0"1"0"0,-2 0-4 0,0 2 4 0,-2 0-8 0,0 3 0 0,-3 0 4 16,-1 1-8-16,0 1 0 0,-3 0-4 0,-1 2 0 0,-1 0 0 0,-2 1 0 15,-1 2-4-15,-2-1 4 0,0 1 0 0,-1 0 0 0,-1-1-8 0,-2 2 0 0,0-1 0 16,0 1-4-16,-2 0 4 0,1 1 0 0,-2 0-4 0,0 0 4 0,-1 1-4 15,1 0 8-15,-2 0-4 0,1-1-4 0,-1 1-4 0,1-1 12 0,-2 0-12 16,2 0 4-16,0-2 4 0,1 1-4 0,-1-1 4 0,2-1 0 0,0 0-8 0,0-1 4 16,2 0-4-16,-1 0 0 0,2-1 0 0,1-2 4 0,2 1-4 0,-1-1 0 15,2-2-4-15,2 1 0 0,2-1 12 0,1-1-12 0,1-1 4 0,2 0 0 0,2-1-4 16,1-1-4-16,2 1 8 0,2-2-4 0,0 0 4 0,3 0 0 15,0 0-8-15,1-1 8 0,1 0-8 0,0 0 4 0,2 0 0 0,0 1 0 0,0-1 0 16,1 1 4-16,-1 0-4 0,0-1 8 0,3 2-12 0,-3 0 8 0,1 0-12 16,1 0 8-16,-2 1 0 0,1 1-4 0,-2 0 8 0,1 0 0 0,-3 1-8 0,1 1 8 15,-1-1-4-15,-2 2 0 0,0 1 4 0,-2 1-8 0,-1-1 8 0,-1 1 0 16,1-1 0-16,-2 2-4 0,-1 0 8 0,-1 1-8 0,-1 0 4 0,0-1 0 15,-2 1 0-15,0 0 8 0,1 0-4 0,-5-1 0 0,2 2 0 0,-2-1 0 16,-1 0 4-16,0-1 4 0,-2 1 0 0,0 0 0 0,-4 0 0 0,1-2 0 0,0 1-4 16,-3-1 4-16,0 0-8 0,-1 1 0 0,-2-1 4 0,1-1-8 0,-2 0 4 15,0 0 0-15,-1-1 0 0,-1 0-4 0,1 0 4 0,-2-1-8 0,1 0 4 0,0 0-4 16,1-1 0-16,-2-1 0 0,2 1 0 0,0-1 0 0,1 0-4 0,0 0-4 15,1-1-4-15,2 0-12 0,0 0-8 0,2 0-8 0,2-1-12 0,2-1-4 16,-1 1-12-16,5-1-28 0,0 0-8 0,3-2 4 0,1 1 16 0,2 0 8 0,2-1 8 16,1-1 8-16,2 0 4 0</inkml:trace>
  <inkml:trace contextRef="#ctx0" brushRef="#br0" timeOffset="197093.2731">13378 11357 31 0,'6'-8'36'0,"0"2"-4"0,-1 1 0 0,0 0-4 0,0 2 0 0,1 1-4 16,-1 0 4-16,-1 1-4 0,-1 2 0 0,1 1 4 0,-2 0-4 0,1 1 0 0,-2 2 0 16,-1 0 0-16,1 1-4 0,-2 0 4 0,1 3 0 0,-2-1 0 0,-1 0-8 15,0 1-4-15,0 1 8 0,-1 2-4 0,0-1 0 0,-3 1 4 0,0 0-4 0,1 2-4 16,-2-1 4-16,-2 1 0 0,1-1 0 0,0 1 0 0,-1 0-4 0,-3 0 4 15,1-1-4-15,-1 0 0 0,-1 1 4 0,-1-2-4 0,0 1 0 0,-1-2 0 16,2 0 4-16,-4 0-8 0,3-2 4 0,-3 2-4 0,2-2-4 0,-1 0 0 0,-1-1 0 16,1-1 0-16,-1 0-4 0,1-1 4 0,-1 0-4 0,1-1-4 0,0 0 0 15,0-1-4-15,1-1-4 0,0 0-4 0,0-2-20 0,2 0-12 0,-2-1-20 0,3-1-36 16,-2-2 0-16,3 1 12 0,-2-1 8 0,2-2 8 0,0 0 8 15,1-1 8-15,-1-2 8 0</inkml:trace>
  <inkml:trace contextRef="#ctx0" brushRef="#br0" timeOffset="197881.3182">6165 8929 15 0,'11'3'16'0,"-1"2"8"15,2 0-4-15,3-1-4 0,0 1 4 0,2 1-8 0,2 0 0 0,0 0 4 16,3 1-4-16,1 0 0 0,2 2 0 0,3-1 0 0,0 2-4 0,5-2 0 15,0 3 0-15,5-1 0 0,-1 2-4 0,3-1 0 0,2 1 0 0,2 2 4 0,3-1-4 16,0 1 0-16,3 1 0 0,0 0 0 0,3 0 0 0,1 2 0 0,1 0 0 16,3 0 0-16,1 2 0 0,2-1 0 0,0 2 0 0,2 0-4 0,1 0 0 0,1 1 0 15,1 1 4-15,0 2 0 0,1-1-4 0,0 1 4 0,0 3-4 0,0-2 0 16,2 3 0-16,-1 0 0 0,0 2 0 0,1-1-4 0,0 3 8 0,0-1-4 15,0 2 0-15,0-1 4 0,2 2-4 0,0 0 0 0,0 1 0 0,2 0 0 16,1 0 4-16,0 1 0 0,2 0 0 0,-1 1-4 0,3-1 4 0,-1 2 0 0,2 0 0 16,0 0 0-16,1 1 0 0,1 1 0 0,2 0 0 0,0 2 0 0,2-1 0 15,1 1 0-15,-1 0 0 0,2 1 0 0,0-1-4 0,1 0 4 0,0 0 0 0,0 0 0 16,-1 0 0-16,1 0 4 0,1 0-4 0,-1 0 0 0,1-1 0 0,0 2 0 15,-1-1 0-15,-2 0 0 0,1 1-4 0,-1 0 4 0,-2 0-4 0,0 0 8 16,-3 0-4-16,2 0 0 0,-3 0 0 0,1-1 0 0,-1-2 0 0,-2 0 0 16,1-1 0-16,-4 0 0 0,0-1 4 0,-1-2 0 0,-3-1-4 0,0-1 0 0,-2 1 4 15,-3-3 0-15,0 0-4 0,-3-1 0 0,-1-1 4 0,-4-2-4 0,-1 1 4 16,-2-3-4-16,-4-1-4 0,-2 0 4 0,-3-1-4 0,-2-2 4 0,-4-1-4 15,-2-2 0-15,-1-1 4 0,-4-1 0 0,-2-2-4 0,-4 0 0 0,-4-2 8 0,-1 0-8 16,-4-2 4-16,-2-1 0 0,-2 1 0 0,-3-3 0 0,-2 0-4 0,-1 0 0 16,-3-1 0-16,-1-2-4 0,-1 0 4 0,-3 0 4 0,0-1-4 0,-1 0 0 15,-2-1 0-15,1-1-4 0,-2 0 0 0,-1 0 4 0,0 0-4 0,0-2 0 0,-1 1-4 16,1-1-12-16,-1 2-8 0,0-4-4 0,1 2-24 0,-1 0-24 0,0-1 0 15,1-1 12-15,0 2 8 0,0-2 8 0,0 0 0 0</inkml:trace>
  <inkml:trace contextRef="#ctx0" brushRef="#br0" timeOffset="198083.3298">13493 12334 39 0,'-4'10'32'0,"0"2"-4"0,0-1-4 0,0 0 0 0,0-1-4 15,-1 0-8-15,1 0-16 0,0-2-44 0,0 0-8 0,0-2 8 0</inkml:trace>
  <inkml:trace contextRef="#ctx0" brushRef="#br0" timeOffset="199385.4042">6481 5332 31 0,'0'3'28'16,"0"0"0"-16,1 1-8 0,0-1 0 0,1 0-8 0,0 2 4 0,1-1 0 15,1 1 0-15,0 0-4 0,1 1 0 0,1-1 0 0,1 2-4 0,0 0 0 0,1 0 0 16,-1 1 0-16,3 1 0 0,0 0 0 0,0 2 0 0,3 0 0 0,0 2 0 15,3 2 0-15,0 1 0 0,2 1 0 0,0 3 0 0,3 2-4 0,1 1 4 16,2 2 0-16,0 0 0 0,2 2-4 0,2 1 4 0,0 1-4 0,3 2 0 0,0-1 8 16,2 2-4-16,2 2 4 0,1-1-4 0,1 2 4 0,2 1-4 0,1-1 4 15,3 3-4-15,1 1 0 0,3 0 4 0,1 2-4 0,3 1 0 0,1 2 0 0,2 0 4 16,3 0 0-16,1 1 0 0,1 1-4 0,2 0 0 0,1 1 0 15,0 0 4-15,3 1-4 0,2 0 4 0,1 1-4 0,1 0-4 0,2 3 4 0,0 0 0 16,2 1-12-16,-1 1 8 0,3 0 4 0,0 2-8 0,0 0 8 0,1 1 0 16,1 0 0-16,1 1-12 0,0 0 12 0,2 2-12 0,-1 1 4 0,0 0-4 0,0 0 12 15,-1 1-4-15,0 0 4 0,0 0-4 0,-1 1 0 0,0-1 4 0,0 1-4 16,0 1-4-16,1-1 4 0,-2 1 0 0,1 0-4 0,-1 0 8 0,1 2-4 15,-2-1 0-15,1 0 0 0,-1-1 4 0,-1 1-16 0,1 0 20 0,-1-1-4 0,1 0-4 16,-1 0-4-16,0 1 8 0,1-1-4 0,-2 2 4 0,0-2 0 0,0 1-4 16,-2-1 8-16,1 1 0 0,0-1-4 0,-2-1 0 0,1 0 4 0,-1 0-4 15,0-1 0-15,-1 1-4 0,1-2 4 0,-1 1 0 0,-1 0 0 0,-1 0-4 0,0-1 0 16,1-1 0-16,-2 0 0 0,-2 0 4 0,0-2-8 0,0 1 8 0,-1 0 0 15,-1-2-8-15,-2 0 8 0,0 0-4 0,-2-1 0 0,0-1-4 0,-4-1 4 16,0 0 0-16,0-2-4 0,-2-1 0 0,-3 0 4 0,0-2-4 0,-1 0 0 16,-2-1 4-16,-2-1 0 0,0-2 0 0,-3 2-4 0,-1-3 0 0,-1-1 4 0,-3-1 0 15,-2-1-8-15,-2-2 4 0,-1-2 4 0,-2-1-8 0,-2-2 0 0,-2-3 4 16,-2-1 0-16,-2-2-4 0,-1-1 0 0,-2-3 4 0,-1-1-4 0,-2-2 4 15,-1-1-8-15,-2-3-8 0,-1 0-4 0,-2-5-8 0,-1 1-16 0,-2-3-8 0,-2-2-20 16,2-3-28-16,-5-3-8 0,1-1 12 0,-2-2 12 0,-2-5 8 0,0 1 4 16,-3-4 8-16,1-1 8 0</inkml:trace>
  <inkml:trace contextRef="#ctx0" brushRef="#br0" timeOffset="199973.4379">12073 8842 23 0,'9'-6'40'0,"0"0"-4"0,-2-2-4 0,0 2 0 15,-1 0-4-15,0-2-4 0,-2 1 0 0,-1 0-4 0,0 0 0 0,-3 0-4 16,0 0 0-16,-2 0 0 0,-1-1 0 0,-2 1 0 0,-3 0-4 0,0 1 4 0,-1 0-8 16,-4 0 4-16,2 1-4 0,-2 0 4 0,-3 1-4 0,1 1 0 0,-2-1 0 15,0 2 0-15,0 1 0 0,-1 0 0 0,1 1-4 0,-2 1 0 0,2 0 4 0,-2 1-4 16,2 0 4-16,1 1-4 0,-1 1-4 0,2 1 12 0,-1 0 0 15,2-1-4-15,1 2 0 0,1 1-8 0,2-2 8 0,1 2-4 0,3-1 4 0,1 2-4 16,3-1 0-16,1 0 0 0,4 0 0 0,1 1 0 0,1-1-4 0,5 0 8 16,0 1-8-16,2-1 0 0,3 0 0 0,-1 1 4 0,2 0 0 0,1 0-8 0,2-1 4 15,-1 1 4-15,0-1-8 0,2 1 0 0,-2 0 12 0,1 1-4 16,1-2-4-16,-3 3 4 0,2-2 0 0,-2 1 0 0,0 2-4 0,0-2 0 0,-2 1 0 15,0 1 0-15,-2 0 12 0,-1 1-12 0,-1 1 8 0,-1 0-4 0,-2 0 4 16,-2 0 0-16,2 1 0 0,-4 1-4 0,-1-1 8 0,0 1-12 0,-2 0 0 0,-1 0 8 16,-1 0 4-16,0 1-8 0,-2-1 0 0,1 0 4 0,-1 0 0 0,-1 0-4 15,1-1 0-15,-2 1 0 0,2-2 4 0,-1 1 0 0,-1 0-8 0,0-2 12 16,1 1-8-16,-1-2 4 0,-1 0 4 0,1-1 4 0,0-2-12 0,0 1 8 0,0-1 0 15,0-1 0-15,-1-2-4 0,0 0 4 0,-1 0 0 0,2-2-4 0,-1-1 0 16,-2 0 0-16,2-2 4 0,-1 0-8 0,1 0 4 0,-1-2-4 0,1-1 0 0,0-1 4 16,1-1-4-16,-1 1-4 0,1-2 0 0,0 1 0 0,1-4-4 0,1 1-4 15,0 0-4-15,2-2-16 0,0 0-8 0,1-2-20 0,1 1-24 0,0-2-32 16,1-1 0-16,0 0 16 0,2 0 12 0,0-1 8 0,1 0 4 0,0 1 8 15,0-1 8-15</inkml:trace>
  <inkml:trace contextRef="#ctx0" brushRef="#br0" timeOffset="200735.4815">15924 10187 23 0,'-5'-6'48'0,"0"0"-4"0,-1-1-4 16,2 1 0-16,-2 0-4 0,2 0-4 0,0 2-4 0,0-2 0 0,0 0-4 15,2 2-4-15,-1-1 0 0,2 2 0 0,0 0 0 0,0 1 0 0,2 1 4 0,1 2-8 16,-1 0 12-16,3 2-16 0,0 2 12 0,1 1 0 0,2 1-8 0,1 2 0 16,1 1 0-16,2 1-4 0,2 1-4 0,0 1 0 0,4 1 4 0,-1 3 0 0,4 0-4 15,2 1 0-15,0 1 0 0,3 1 0 0,1 1 0 0,3 1 4 16,0 2-8-16,3 0 0 0,0 1 0 0,2 0-8 0,0 2 12 0,2 0-4 0,-1 0-4 15,2 0 4-15,-1 0-4 0,1 0 0 0,-1 0-4 0,-1-1 4 0,1-1 0 16,-1 0 0-16,-3-1 0 0,-1 0-4 0,-1-1 4 0,-4-2-12 0,-1 0 4 0,-1 0 0 16,-5-2-16-16,-2-1-12 0,-4 0-12 0,-4-1-16 0,-4 0-28 0,-3-4 4 15,-5 0 4-15,-3 0 8 0,-5-4 8 0,-3 1 4 0,-5-2 8 0</inkml:trace>
  <inkml:trace contextRef="#ctx0" brushRef="#br0" timeOffset="201298.5137">14272 12539 11 0,'-5'-16'44'0,"1"1"-4"16,-1 0 0-16,0 0 4 0,0 1 0 0,-1 0-4 0,-1 0-4 0,1 0 4 0,-1 2-8 16,0-1 0-16,0 1-8 0,1 1-4 0,0-1 4 0,1 3-8 0,0 0 0 15,1 1 0-15,-1 1 0 0,2 0-8 0,1 1 0 0,1 2 0 0,2 1 4 16,0 1 4-16,2 4-12 0,1-1 12 0,1 3-12 0,1 1 0 0,0 2-4 15,2 1 12-15,2 1-8 0,-1 1-4 0,1-1 8 0,2 4 0 0,-1-1 0 0,1 1-8 16,0-1 0-16,1 1-8 0,1 0 8 0,-1 0 8 0,1 1-12 0,-1-1 8 16,-1 1 0-16,2-1-8 0,-1-1 4 0,0 1 4 0,-1-1-4 0,0 0-4 0,-1-2 0 15,0 1-12-15,0-2-12 0,-1-2-8 0,-1 2-8 0,-1-4-12 16,0 0-28-16,-1-1 4 0,-1-2 8 0,-1-1 8 0,0-1 8 0,0 0 4 0,-1-2 4 15</inkml:trace>
  <inkml:trace contextRef="#ctx0" brushRef="#br0" timeOffset="201515.5261">14619 12228 31 0,'-1'2'40'0,"-2"1"0"0,0 1-4 0,-4 1 0 16,1 1 0-16,-2 1 0 0,-1 0 0 0,-3 2 4 0,1 0-8 0,-2 2 4 15,-1-1-8-15,-3 1 0 0,2 1 4 0,-4 0-4 0,1 0-8 0,-1 1 0 16,-2 0-4-16,2 0 0 0,-2 2-8 0,-1-1 4 0,1 2 0 0,-1 0 0 16,-1 0-8-16,3 2 4 0,-2-2 0 0,2 1-12 0,1 0 8 0,-1 1 4 0,2-3-8 15,1 2 4-15,1-1 0 0,2-2-12 0,0 2 4 0,3-1 0 0,1-1-8 16,1-2-8-16,3 1-12 0,1-1 0 0,3-2-12 0,1 0-8 0,2-1-20 0,3 0-4 15,1-1 0-15,3-2 8 0,2 1 12 0,2-1 4 0,3 0 4 16</inkml:trace>
  <inkml:trace contextRef="#ctx0" brushRef="#br0" timeOffset="202045.5564">14921 12865 11 0,'30'1'40'0,"0"1"0"0,-2-1-4 0,-2 0-4 0,0-1 0 0,-2-1 0 16,-1-1 0-16,-4 0 0 0,1-1 0 0,-4 0 0 0,0-1-8 0,-4-1 0 16,-1-2-4-16,-3 0 4 0,-2 0-4 0,-2-1-4 0,-3-1 4 0,-1 0-4 0,-2 0-4 15,-1 0 0-15,-3 1 4 0,-2-2 0 0,-2 1 0 0,-2 1-12 0,0 0 4 16,-3 0 4-16,0 1 0 0,-2 1-4 0,0-1 0 0,-2 2 4 0,-1 0-4 0,1 2-8 15,-1 0 8-15,0 1-4 0,1 0 4 0,-1 1-8 0,2 1 8 0,0 1-8 16,0 1 4-16,3 2 0 0,1-1 4 0,0 2-4 0,5-1-4 0,-1 2 4 16,3 1 0-16,3 1 0 0,2-1-4 0,2 1 0 0,3 1 8 0,3-1-12 0,1 2 8 15,4-1-8-15,1 1 8 0,4-1-8 0,-1 0 4 0,5 0 4 0,1 0-4 16,-1 0 0-16,3 0-4 0,1 0 0 0,-2 0 4 0,2 0 4 0,0-1 0 0,-1 0-4 15,-1 1 12-15,-1 0-4 0,0-1 0 0,-3 3-4 0,0-2 4 16,-3 1 0-16,-1 0 0 0,-3 2 4 0,-1-1-4 0,-4 3 0 0,-2 0 4 0,-2 2-4 16,-3 0 0-16,-2 1 0 0,-4 2 4 0,-3 0-4 0,-2 1 0 0,-4 1 0 15,-2 2-4-15,-4 1 0 0,-4 1 4 0,-2 1 0 0,-2 0 4 0,-2 1 0 0,-3 2 0 16,0-1-12-16,-2 0 8 0,-2 1 0 0,-1 0 0 0,0 0 0 0,-2 1 4 15,0-1 0-15,-1 0 0 0,-1-1-4 0,2 0 0 0,-1-1 0 0,-2 1 4 16,2-2 0-16,0-1 0 0,1 0 0 0,1-1-4 0,-1-2 0 0,3-1 0 16,0 0-4-16,2-3 0 0,1-1 0 0,1-1 0 0,3-1 0 0,2-2 0 0,1-1 0 15,4-3 0-15,0-1 0 0,2 0-4 0,2-2 0 0,3-2 0 0,-1 0 0 16,4-3 0-16,0-1 0 0,3-1-4 0,-1-1 4 0,4-2 0 0,1-2 0 0,1-1-4 15,1-1 4-15,3-2 0 0,1-2 0 0,0-1 0 0,1-1 0 16,2-3 0-16,1-1 0 0,0-1 0 0,1-3 0 0,3 0 0 0,-1-3 0 0,1 0-4 16,1-2 4-16,2-1 0 0,1-1 0 0,1-1 0 0,2 0 0 0,1 0 0 15,3 1 0-15,0-1 0 0,4 1 0 0,-1 2 4 0,5-1-4 0,1 2 0 0,3 2 0 16,2 1 4-16,2 3-4 0,2 0 0 0,3 2 0 0,2 6 0 0,2-1 8 15,2 4-4-15,3 3 4 0,2 3-4 0,3 2 0 0,5 5 4 0,3 2 4 16,5 4-4-16,5 3 4 0,3 3 0 0,4 6 0 0,7 1 0 0,6 6-4 0,6 4 0 16,4 3 0-16,8 5 0 0,7 5-4 0,6 2-4 0,5 5-12 0,6 3-24 15,6 4-52-15,7 6-56 0,5 2-4 0,4 5 12 0,7 2 8 0,6 1 8 16,4 3 12-16,5 0 12 0,3 4 8 0,3 0 12 0,4 1 8 0</inkml:trace>
</inkml:ink>
</file>

<file path=ppt/ink/ink6.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28.36041" units="1/cm"/>
          <inkml:channelProperty channel="Y" name="resolution" value="28.34646" units="1/cm"/>
          <inkml:channelProperty channel="T" name="resolution" value="1" units="1/dev"/>
        </inkml:channelProperties>
      </inkml:inkSource>
      <inkml:timestamp xml:id="ts0" timeString="2017-11-05T07:50:23.767"/>
    </inkml:context>
    <inkml:brush xml:id="br0">
      <inkml:brushProperty name="width" value="0.05292" units="cm"/>
      <inkml:brushProperty name="height" value="0.05292" units="cm"/>
      <inkml:brushProperty name="color" value="#FF0000"/>
    </inkml:brush>
  </inkml:definitions>
  <inkml:trace contextRef="#ctx0" brushRef="#br0">20849 1261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dirty="0"/>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6EF1D10-E2B8-401E-9DDF-4A0A35F1FF46}" type="datetimeFigureOut">
              <a:rPr lang="zh-CN" altLang="en-US" smtClean="0"/>
              <a:t>2017/11/5</a:t>
            </a:fld>
            <a:endParaRPr lang="zh-CN" altLang="en-US"/>
          </a:p>
        </p:txBody>
      </p:sp>
      <p:sp>
        <p:nvSpPr>
          <p:cNvPr id="4" name="幻灯片图像占位符 3"/>
          <p:cNvSpPr>
            <a:spLocks noGrp="1" noRot="1" noChangeAspect="1"/>
          </p:cNvSpPr>
          <p:nvPr>
            <p:ph type="sldImg" idx="2"/>
          </p:nvPr>
        </p:nvSpPr>
        <p:spPr>
          <a:xfrm>
            <a:off x="1124744" y="683568"/>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1926A86-91B2-4940-A142-1C632C38940E}" type="slidenum">
              <a:rPr lang="zh-CN" altLang="en-US" smtClean="0"/>
              <a:t>‹#›</a:t>
            </a:fld>
            <a:endParaRPr lang="zh-CN" altLang="en-US"/>
          </a:p>
        </p:txBody>
      </p:sp>
    </p:spTree>
    <p:extLst>
      <p:ext uri="{BB962C8B-B14F-4D97-AF65-F5344CB8AC3E}">
        <p14:creationId xmlns:p14="http://schemas.microsoft.com/office/powerpoint/2010/main" val="1405583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17/11/5</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image" Target="../media/image2.jpeg"/><Relationship Id="rId1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9">
            <a:alphaModFix amt="8000"/>
          </a:blip>
          <a:stretch>
            <a:fillRect/>
          </a:stretch>
        </a:blipFill>
        <a:effectLst/>
      </p:bgPr>
    </p:bg>
    <p:spTree>
      <p:nvGrpSpPr>
        <p:cNvPr id="1" name=""/>
        <p:cNvGrpSpPr/>
        <p:nvPr/>
      </p:nvGrpSpPr>
      <p:grpSpPr>
        <a:xfrm>
          <a:off x="0" y="0"/>
          <a:ext cx="0" cy="0"/>
          <a:chOff x="0" y="0"/>
          <a:chExt cx="0" cy="0"/>
        </a:xfrm>
      </p:grpSpPr>
      <p:pic>
        <p:nvPicPr>
          <p:cNvPr id="3" name="图片 2" descr="PPT上方图案"/>
          <p:cNvPicPr>
            <a:picLocks noChangeAspect="1"/>
          </p:cNvPicPr>
          <p:nvPr userDrawn="1"/>
        </p:nvPicPr>
        <p:blipFill>
          <a:blip r:embed="rId10"/>
          <a:stretch>
            <a:fillRect/>
          </a:stretch>
        </p:blipFill>
        <p:spPr>
          <a:xfrm>
            <a:off x="0" y="-1270"/>
            <a:ext cx="9143365" cy="571500"/>
          </a:xfrm>
          <a:prstGeom prst="rect">
            <a:avLst/>
          </a:prstGeom>
        </p:spPr>
      </p:pic>
      <p:graphicFrame>
        <p:nvGraphicFramePr>
          <p:cNvPr id="3103" name="Object 3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96" name="think-cell Slide" r:id="rId11" imgW="12700" imgH="12700" progId="">
                  <p:embed/>
                </p:oleObj>
              </mc:Choice>
              <mc:Fallback>
                <p:oleObj name="think-cell Slide" r:id="rId11" imgW="12700" imgH="12700" progId="">
                  <p:embed/>
                  <p:pic>
                    <p:nvPicPr>
                      <p:cNvPr id="0" name="Picture 8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85" descr="C:\Users\Think\Desktop\背景2.jpg"/>
          <p:cNvPicPr>
            <a:picLocks noChangeAspect="1" noChangeArrowheads="1"/>
          </p:cNvPicPr>
          <p:nvPr userDrawn="1"/>
        </p:nvPicPr>
        <p:blipFill>
          <a:blip r:embed="rId13"/>
          <a:srcRect/>
          <a:stretch>
            <a:fillRect/>
          </a:stretch>
        </p:blipFill>
        <p:spPr bwMode="auto">
          <a:xfrm>
            <a:off x="0" y="6213177"/>
            <a:ext cx="9144000" cy="642918"/>
          </a:xfrm>
          <a:prstGeom prst="rect">
            <a:avLst/>
          </a:prstGeom>
          <a:noFill/>
        </p:spPr>
      </p:pic>
      <p:sp>
        <p:nvSpPr>
          <p:cNvPr id="7" name="TextBox 6"/>
          <p:cNvSpPr txBox="1"/>
          <p:nvPr userDrawn="1"/>
        </p:nvSpPr>
        <p:spPr>
          <a:xfrm>
            <a:off x="928662" y="6211669"/>
            <a:ext cx="7358114" cy="646331"/>
          </a:xfrm>
          <a:prstGeom prst="rect">
            <a:avLst/>
          </a:prstGeom>
          <a:noFill/>
        </p:spPr>
        <p:txBody>
          <a:bodyPr wrap="square">
            <a:spAutoFit/>
          </a:bodyPr>
          <a:lstStyle/>
          <a:p>
            <a:pPr algn="dist" fontAlgn="auto">
              <a:spcBef>
                <a:spcPts val="0"/>
              </a:spcBef>
              <a:spcAft>
                <a:spcPts val="0"/>
              </a:spcAft>
              <a:defRPr/>
            </a:pPr>
            <a:r>
              <a:rPr lang="zh-CN" altLang="en-US" sz="1600" b="1" dirty="0">
                <a:solidFill>
                  <a:schemeClr val="tx1"/>
                </a:solidFill>
                <a:latin typeface="幼圆" panose="02010509060101010101" pitchFamily="49" charset="-122"/>
                <a:ea typeface="幼圆" panose="02010509060101010101" pitchFamily="49" charset="-122"/>
              </a:rPr>
              <a:t>小状元出品，必属精品，考研重点、难点，一网打尽！</a:t>
            </a:r>
            <a:endParaRPr lang="en-US" altLang="zh-CN" sz="1600" b="1" dirty="0">
              <a:solidFill>
                <a:schemeClr val="tx1"/>
              </a:solidFill>
              <a:latin typeface="幼圆" panose="02010509060101010101" pitchFamily="49" charset="-122"/>
              <a:ea typeface="幼圆" panose="02010509060101010101" pitchFamily="49" charset="-122"/>
            </a:endParaRPr>
          </a:p>
          <a:p>
            <a:pPr algn="dist" fontAlgn="auto">
              <a:spcBef>
                <a:spcPts val="0"/>
              </a:spcBef>
              <a:spcAft>
                <a:spcPts val="0"/>
              </a:spcAft>
              <a:defRPr/>
            </a:pPr>
            <a:endParaRPr lang="zh-CN" altLang="en-US" sz="400" b="1" dirty="0">
              <a:solidFill>
                <a:schemeClr val="tx1"/>
              </a:solidFill>
              <a:latin typeface="幼圆" panose="02010509060101010101" pitchFamily="49" charset="-122"/>
              <a:ea typeface="幼圆" panose="02010509060101010101" pitchFamily="49" charset="-122"/>
            </a:endParaRPr>
          </a:p>
          <a:p>
            <a:pPr>
              <a:spcAft>
                <a:spcPts val="600"/>
              </a:spcAft>
            </a:pPr>
            <a:r>
              <a:rPr lang="zh-CN" altLang="en-US" sz="1600" b="1" baseline="0" dirty="0">
                <a:solidFill>
                  <a:srgbClr val="FF0000"/>
                </a:solidFill>
                <a:latin typeface="+mj-ea"/>
                <a:ea typeface="+mj-ea"/>
              </a:rPr>
              <a:t>严禁私自盗录、翻录、传播小状元考研的视频与资料，违者必将追究其法律责任</a:t>
            </a:r>
            <a:endParaRPr lang="en-US" altLang="zh-CN" sz="1600" b="1" baseline="0" dirty="0">
              <a:solidFill>
                <a:srgbClr val="FF0000"/>
              </a:solidFill>
              <a:latin typeface="+mj-ea"/>
              <a:ea typeface="+mj-ea"/>
            </a:endParaRPr>
          </a:p>
        </p:txBody>
      </p:sp>
      <p:sp>
        <p:nvSpPr>
          <p:cNvPr id="9" name="矩形 8"/>
          <p:cNvSpPr/>
          <p:nvPr userDrawn="1"/>
        </p:nvSpPr>
        <p:spPr>
          <a:xfrm>
            <a:off x="5224145" y="20320"/>
            <a:ext cx="3919855" cy="518160"/>
          </a:xfrm>
          <a:prstGeom prst="rect">
            <a:avLst/>
          </a:prstGeom>
        </p:spPr>
        <p:txBody>
          <a:bodyPr wrap="square">
            <a:spAutoFit/>
          </a:bodyPr>
          <a:lstStyle/>
          <a:p>
            <a:pPr marL="0" marR="0" indent="0" algn="r" defTabSz="914400" rtl="0" eaLnBrk="1" fontAlgn="base" latinLnBrk="0" hangingPunct="1">
              <a:lnSpc>
                <a:spcPct val="100000"/>
              </a:lnSpc>
              <a:spcBef>
                <a:spcPct val="0"/>
              </a:spcBef>
              <a:spcAft>
                <a:spcPct val="0"/>
              </a:spcAft>
              <a:buClrTx/>
              <a:buSzTx/>
              <a:buFontTx/>
              <a:buNone/>
              <a:defRPr/>
            </a:pPr>
            <a:r>
              <a:rPr lang="zh-CN" altLang="en-US" sz="2800" b="0" kern="1200" baseline="0" dirty="0">
                <a:solidFill>
                  <a:srgbClr val="CC0000"/>
                </a:solidFill>
                <a:latin typeface="+mj-ea"/>
                <a:ea typeface="+mj-ea"/>
                <a:cs typeface="+mn-cs"/>
              </a:rPr>
              <a:t>数据结构提高班</a:t>
            </a:r>
            <a:endParaRPr lang="en-US" altLang="zh-CN" sz="2800" b="0" kern="1200" baseline="0" dirty="0">
              <a:solidFill>
                <a:srgbClr val="CC0000"/>
              </a:solidFill>
              <a:latin typeface="+mj-ea"/>
              <a:ea typeface="+mj-ea"/>
              <a:cs typeface="+mn-cs"/>
            </a:endParaRPr>
          </a:p>
        </p:txBody>
      </p:sp>
      <p:sp>
        <p:nvSpPr>
          <p:cNvPr id="8" name="TextBox 7"/>
          <p:cNvSpPr txBox="1"/>
          <p:nvPr userDrawn="1"/>
        </p:nvSpPr>
        <p:spPr>
          <a:xfrm>
            <a:off x="2267744" y="-15602"/>
            <a:ext cx="3600400" cy="600164"/>
          </a:xfrm>
          <a:prstGeom prst="rect">
            <a:avLst/>
          </a:prstGeom>
          <a:noFill/>
        </p:spPr>
        <p:txBody>
          <a:bodyPr wrap="square">
            <a:spAutoFit/>
          </a:bodyPr>
          <a:lstStyle/>
          <a:p>
            <a:pPr marL="0" marR="0" indent="0" algn="l" defTabSz="914400" rtl="0" eaLnBrk="1" fontAlgn="base" latinLnBrk="0" hangingPunct="1">
              <a:lnSpc>
                <a:spcPct val="100000"/>
              </a:lnSpc>
              <a:spcBef>
                <a:spcPct val="0"/>
              </a:spcBef>
              <a:spcAft>
                <a:spcPct val="0"/>
              </a:spcAft>
              <a:buClrTx/>
              <a:buSzTx/>
              <a:buFontTx/>
              <a:buNone/>
              <a:defRPr/>
            </a:pPr>
            <a:r>
              <a:rPr lang="zh-CN" altLang="en-US" sz="1600" b="1" kern="1200" dirty="0">
                <a:solidFill>
                  <a:srgbClr val="CC0000"/>
                </a:solidFill>
                <a:latin typeface="幼圆" panose="02010509060101010101" pitchFamily="49" charset="-122"/>
                <a:ea typeface="幼圆" panose="02010509060101010101" pitchFamily="49" charset="-122"/>
                <a:cs typeface="+mn-cs"/>
              </a:rPr>
              <a:t>官方淘宝店铺：小 状 元 专 业 课</a:t>
            </a:r>
            <a:endParaRPr lang="en-US" altLang="zh-CN" sz="1600" b="1" kern="1200" dirty="0">
              <a:solidFill>
                <a:srgbClr val="CC0000"/>
              </a:solidFill>
              <a:latin typeface="幼圆" panose="02010509060101010101" pitchFamily="49" charset="-122"/>
              <a:ea typeface="幼圆" panose="02010509060101010101" pitchFamily="49" charset="-122"/>
              <a:cs typeface="+mn-cs"/>
            </a:endParaRPr>
          </a:p>
          <a:p>
            <a:pPr marL="0" marR="0" indent="0" algn="l" defTabSz="914400" rtl="0" eaLnBrk="1" fontAlgn="base" latinLnBrk="0" hangingPunct="1">
              <a:lnSpc>
                <a:spcPct val="100000"/>
              </a:lnSpc>
              <a:spcBef>
                <a:spcPct val="0"/>
              </a:spcBef>
              <a:spcAft>
                <a:spcPct val="0"/>
              </a:spcAft>
              <a:buClrTx/>
              <a:buSzTx/>
              <a:buFontTx/>
              <a:buNone/>
              <a:defRPr/>
            </a:pPr>
            <a:endParaRPr lang="en-US" altLang="zh-CN" sz="100" b="1" kern="1200" dirty="0">
              <a:solidFill>
                <a:srgbClr val="CC0000"/>
              </a:solidFill>
              <a:latin typeface="幼圆" panose="02010509060101010101" pitchFamily="49" charset="-122"/>
              <a:ea typeface="幼圆" panose="02010509060101010101" pitchFamily="49" charset="-122"/>
              <a:cs typeface="+mn-cs"/>
            </a:endParaRPr>
          </a:p>
          <a:p>
            <a:pPr marL="0" marR="0" indent="0" algn="l" defTabSz="914400" rtl="0" eaLnBrk="1" fontAlgn="base" latinLnBrk="0" hangingPunct="1">
              <a:lnSpc>
                <a:spcPct val="100000"/>
              </a:lnSpc>
              <a:spcBef>
                <a:spcPct val="0"/>
              </a:spcBef>
              <a:spcAft>
                <a:spcPct val="0"/>
              </a:spcAft>
              <a:buClrTx/>
              <a:buSzTx/>
              <a:buFontTx/>
              <a:buNone/>
              <a:defRPr/>
            </a:pPr>
            <a:r>
              <a:rPr lang="zh-CN" altLang="en-US" sz="1600" b="1" kern="1200" dirty="0">
                <a:solidFill>
                  <a:srgbClr val="CC0000"/>
                </a:solidFill>
                <a:latin typeface="幼圆" panose="02010509060101010101" pitchFamily="49" charset="-122"/>
                <a:ea typeface="幼圆" panose="02010509060101010101" pitchFamily="49" charset="-122"/>
                <a:cs typeface="+mn-cs"/>
              </a:rPr>
              <a:t>考研论坛：</a:t>
            </a:r>
            <a:r>
              <a:rPr lang="en-US" altLang="zh-CN" sz="1500" b="1" kern="1200" dirty="0">
                <a:solidFill>
                  <a:srgbClr val="CC0000"/>
                </a:solidFill>
                <a:latin typeface="+mj-ea"/>
                <a:ea typeface="+mj-ea"/>
                <a:cs typeface="+mn-cs"/>
              </a:rPr>
              <a:t>www.njuptkaoyan.com</a:t>
            </a:r>
            <a:endParaRPr lang="en-US" altLang="zh-CN" sz="1500" b="1" kern="1200" dirty="0">
              <a:solidFill>
                <a:srgbClr val="CC0000"/>
              </a:solidFill>
              <a:latin typeface="+mj-ea"/>
              <a:ea typeface="+mj-ea"/>
              <a:cs typeface="Times New Roman" panose="02020603050405020304" pitchFamily="18" charset="0"/>
            </a:endParaRPr>
          </a:p>
        </p:txBody>
      </p:sp>
      <p:pic>
        <p:nvPicPr>
          <p:cNvPr id="10" name="Picture 89" descr="C:\Users\Think\Desktop\图片1.jpg"/>
          <p:cNvPicPr>
            <a:picLocks noChangeAspect="1" noChangeArrowheads="1"/>
          </p:cNvPicPr>
          <p:nvPr userDrawn="1"/>
        </p:nvPicPr>
        <p:blipFill>
          <a:blip r:embed="rId14"/>
          <a:srcRect/>
          <a:stretch>
            <a:fillRect/>
          </a:stretch>
        </p:blipFill>
        <p:spPr bwMode="auto">
          <a:xfrm>
            <a:off x="6858016" y="642918"/>
            <a:ext cx="2066925" cy="554037"/>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ctr" rtl="0" eaLnBrk="0" fontAlgn="base" hangingPunct="0">
        <a:spcBef>
          <a:spcPct val="0"/>
        </a:spcBef>
        <a:spcAft>
          <a:spcPct val="0"/>
        </a:spcAft>
        <a:defRPr kern="1200">
          <a:solidFill>
            <a:schemeClr val="tx1"/>
          </a:solidFill>
          <a:latin typeface="黑体" panose="02010609060101010101" pitchFamily="49" charset="-122"/>
          <a:ea typeface="黑体" panose="02010609060101010101" pitchFamily="49" charset="-122"/>
          <a:cs typeface="+mj-cs"/>
        </a:defRPr>
      </a:lvl1pPr>
      <a:lvl2pPr algn="ctr" rtl="0" eaLnBrk="0" fontAlgn="base" hangingPunct="0">
        <a:spcBef>
          <a:spcPct val="0"/>
        </a:spcBef>
        <a:spcAft>
          <a:spcPct val="0"/>
        </a:spcAft>
        <a:defRPr>
          <a:solidFill>
            <a:schemeClr val="tx1"/>
          </a:solidFill>
          <a:latin typeface="黑体" panose="02010609060101010101" pitchFamily="49" charset="-122"/>
          <a:ea typeface="黑体" panose="02010609060101010101" pitchFamily="49" charset="-122"/>
        </a:defRPr>
      </a:lvl2pPr>
      <a:lvl3pPr algn="ctr" rtl="0" eaLnBrk="0" fontAlgn="base" hangingPunct="0">
        <a:spcBef>
          <a:spcPct val="0"/>
        </a:spcBef>
        <a:spcAft>
          <a:spcPct val="0"/>
        </a:spcAft>
        <a:defRPr>
          <a:solidFill>
            <a:schemeClr val="tx1"/>
          </a:solidFill>
          <a:latin typeface="黑体" panose="02010609060101010101" pitchFamily="49" charset="-122"/>
          <a:ea typeface="黑体" panose="02010609060101010101" pitchFamily="49" charset="-122"/>
        </a:defRPr>
      </a:lvl3pPr>
      <a:lvl4pPr algn="ctr" rtl="0" eaLnBrk="0" fontAlgn="base" hangingPunct="0">
        <a:spcBef>
          <a:spcPct val="0"/>
        </a:spcBef>
        <a:spcAft>
          <a:spcPct val="0"/>
        </a:spcAft>
        <a:defRPr>
          <a:solidFill>
            <a:schemeClr val="tx1"/>
          </a:solidFill>
          <a:latin typeface="黑体" panose="02010609060101010101" pitchFamily="49" charset="-122"/>
          <a:ea typeface="黑体" panose="02010609060101010101" pitchFamily="49" charset="-122"/>
        </a:defRPr>
      </a:lvl4pPr>
      <a:lvl5pPr algn="ctr" rtl="0" eaLnBrk="0" fontAlgn="base" hangingPunct="0">
        <a:spcBef>
          <a:spcPct val="0"/>
        </a:spcBef>
        <a:spcAft>
          <a:spcPct val="0"/>
        </a:spcAft>
        <a:defRPr>
          <a:solidFill>
            <a:schemeClr val="tx1"/>
          </a:solidFill>
          <a:latin typeface="黑体" panose="02010609060101010101" pitchFamily="49" charset="-122"/>
          <a:ea typeface="黑体" panose="02010609060101010101" pitchFamily="49" charset="-122"/>
        </a:defRPr>
      </a:lvl5pPr>
      <a:lvl6pPr marL="457200" algn="ctr" rtl="0" fontAlgn="base">
        <a:spcBef>
          <a:spcPct val="0"/>
        </a:spcBef>
        <a:spcAft>
          <a:spcPct val="0"/>
        </a:spcAft>
        <a:defRPr>
          <a:solidFill>
            <a:schemeClr val="tx1"/>
          </a:solidFill>
          <a:latin typeface="黑体" panose="02010609060101010101" pitchFamily="49" charset="-122"/>
          <a:ea typeface="黑体" panose="02010609060101010101" pitchFamily="49" charset="-122"/>
        </a:defRPr>
      </a:lvl6pPr>
      <a:lvl7pPr marL="914400" algn="ctr" rtl="0" fontAlgn="base">
        <a:spcBef>
          <a:spcPct val="0"/>
        </a:spcBef>
        <a:spcAft>
          <a:spcPct val="0"/>
        </a:spcAft>
        <a:defRPr>
          <a:solidFill>
            <a:schemeClr val="tx1"/>
          </a:solidFill>
          <a:latin typeface="黑体" panose="02010609060101010101" pitchFamily="49" charset="-122"/>
          <a:ea typeface="黑体" panose="02010609060101010101" pitchFamily="49" charset="-122"/>
        </a:defRPr>
      </a:lvl7pPr>
      <a:lvl8pPr marL="1371600" algn="ctr" rtl="0" fontAlgn="base">
        <a:spcBef>
          <a:spcPct val="0"/>
        </a:spcBef>
        <a:spcAft>
          <a:spcPct val="0"/>
        </a:spcAft>
        <a:defRPr>
          <a:solidFill>
            <a:schemeClr val="tx1"/>
          </a:solidFill>
          <a:latin typeface="黑体" panose="02010609060101010101" pitchFamily="49" charset="-122"/>
          <a:ea typeface="黑体" panose="02010609060101010101" pitchFamily="49" charset="-122"/>
        </a:defRPr>
      </a:lvl8pPr>
      <a:lvl9pPr marL="1828800" algn="ctr" rtl="0" fontAlgn="base">
        <a:spcBef>
          <a:spcPct val="0"/>
        </a:spcBef>
        <a:spcAft>
          <a:spcPct val="0"/>
        </a:spcAft>
        <a:defRPr>
          <a:solidFill>
            <a:schemeClr val="tx1"/>
          </a:solidFill>
          <a:latin typeface="黑体" panose="02010609060101010101" pitchFamily="49" charset="-122"/>
          <a:ea typeface="黑体" panose="02010609060101010101" pitchFamily="49"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ustomXml" Target="../ink/ink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ustomXml" Target="../ink/ink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ustomXml" Target="../ink/ink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ustomXml" Target="../ink/ink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ustomXml" Target="../ink/ink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ustomXml" Target="../ink/ink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1C80592A-E745-452A-91D6-0C27DD6CEA1B}"/>
              </a:ext>
            </a:extLst>
          </p:cNvPr>
          <p:cNvSpPr txBox="1"/>
          <p:nvPr/>
        </p:nvSpPr>
        <p:spPr>
          <a:xfrm>
            <a:off x="539552" y="1124744"/>
            <a:ext cx="6192688" cy="369332"/>
          </a:xfrm>
          <a:prstGeom prst="rect">
            <a:avLst/>
          </a:prstGeom>
          <a:noFill/>
        </p:spPr>
        <p:txBody>
          <a:bodyPr wrap="square" rtlCol="0">
            <a:spAutoFit/>
          </a:bodyPr>
          <a:lstStyle/>
          <a:p>
            <a:r>
              <a:rPr lang="en-US" altLang="zh-CN" dirty="0"/>
              <a:t>1.</a:t>
            </a:r>
            <a:r>
              <a:rPr lang="zh-CN" altLang="en-US" dirty="0"/>
              <a:t>切记切记切记看题仔细</a:t>
            </a:r>
          </a:p>
        </p:txBody>
      </p:sp>
      <p:sp>
        <p:nvSpPr>
          <p:cNvPr id="3" name="文本框 2">
            <a:extLst>
              <a:ext uri="{FF2B5EF4-FFF2-40B4-BE49-F238E27FC236}">
                <a16:creationId xmlns:a16="http://schemas.microsoft.com/office/drawing/2014/main" id="{BFA0B4A1-19DE-4ABC-9EB8-014AF0F66DA5}"/>
              </a:ext>
            </a:extLst>
          </p:cNvPr>
          <p:cNvSpPr txBox="1"/>
          <p:nvPr/>
        </p:nvSpPr>
        <p:spPr>
          <a:xfrm>
            <a:off x="539552" y="1502209"/>
            <a:ext cx="6408712" cy="4247317"/>
          </a:xfrm>
          <a:prstGeom prst="rect">
            <a:avLst/>
          </a:prstGeom>
          <a:noFill/>
        </p:spPr>
        <p:txBody>
          <a:bodyPr wrap="square" rtlCol="0">
            <a:spAutoFit/>
          </a:bodyPr>
          <a:lstStyle/>
          <a:p>
            <a:r>
              <a:rPr lang="zh-CN" altLang="en-US" dirty="0"/>
              <a:t>绪论</a:t>
            </a:r>
            <a:endParaRPr lang="en-US" altLang="zh-CN" dirty="0"/>
          </a:p>
          <a:p>
            <a:r>
              <a:rPr lang="en-US" altLang="zh-CN" dirty="0"/>
              <a:t>1.</a:t>
            </a:r>
            <a:r>
              <a:rPr lang="zh-CN" altLang="en-US" dirty="0"/>
              <a:t>数据的逻辑结构是独立于存储结构存在的</a:t>
            </a:r>
            <a:endParaRPr lang="en-US" altLang="zh-CN" dirty="0"/>
          </a:p>
          <a:p>
            <a:r>
              <a:rPr lang="zh-CN" altLang="en-US" dirty="0"/>
              <a:t>但数据的存储结构是逻辑结构在计算机上的映射</a:t>
            </a:r>
            <a:endParaRPr lang="en-US" altLang="zh-CN" dirty="0"/>
          </a:p>
          <a:p>
            <a:r>
              <a:rPr lang="en-US" altLang="zh-CN" dirty="0"/>
              <a:t>2.</a:t>
            </a:r>
            <a:r>
              <a:rPr lang="zh-CN" altLang="en-US" dirty="0"/>
              <a:t>算法是指问题求解步骤的描述</a:t>
            </a:r>
            <a:endParaRPr lang="en-US" altLang="zh-CN" dirty="0"/>
          </a:p>
          <a:p>
            <a:r>
              <a:rPr lang="en-US" altLang="zh-CN" dirty="0"/>
              <a:t>3.</a:t>
            </a:r>
            <a:r>
              <a:rPr lang="zh-CN" altLang="en-US" dirty="0"/>
              <a:t>算法的原地工作</a:t>
            </a:r>
            <a:r>
              <a:rPr lang="en-US" altLang="zh-CN" dirty="0"/>
              <a:t>:</a:t>
            </a:r>
            <a:r>
              <a:rPr lang="zh-CN" altLang="en-US" dirty="0"/>
              <a:t>其所需要的辅助空间为常量</a:t>
            </a:r>
            <a:endParaRPr lang="en-US" altLang="zh-CN" dirty="0"/>
          </a:p>
          <a:p>
            <a:r>
              <a:rPr lang="zh-CN" altLang="en-US" dirty="0"/>
              <a:t>同一个算法，实现的语言的级别越高，效率是越低的</a:t>
            </a:r>
            <a:endParaRPr lang="en-US" altLang="zh-CN" dirty="0"/>
          </a:p>
          <a:p>
            <a:r>
              <a:rPr lang="en-US" altLang="zh-CN" dirty="0"/>
              <a:t>4.</a:t>
            </a:r>
            <a:r>
              <a:rPr lang="zh-CN" altLang="en-US" dirty="0"/>
              <a:t>数据元素是数据的基本单位，数据项是数据的最小单位</a:t>
            </a:r>
            <a:endParaRPr lang="en-US" altLang="zh-CN" dirty="0"/>
          </a:p>
          <a:p>
            <a:r>
              <a:rPr lang="en-US" altLang="zh-CN" dirty="0"/>
              <a:t>5.</a:t>
            </a:r>
            <a:r>
              <a:rPr lang="zh-CN" altLang="en-US" dirty="0"/>
              <a:t>数据的逻辑结构是指数据的各项数据元素之间的逻辑关系</a:t>
            </a:r>
            <a:endParaRPr lang="en-US" altLang="zh-CN" dirty="0"/>
          </a:p>
          <a:p>
            <a:r>
              <a:rPr lang="en-US" altLang="zh-CN" dirty="0"/>
              <a:t>6.</a:t>
            </a:r>
            <a:r>
              <a:rPr lang="zh-CN" altLang="en-US" dirty="0"/>
              <a:t>计算总运行时间</a:t>
            </a:r>
            <a:r>
              <a:rPr lang="zh-CN" altLang="en-US" dirty="0">
                <a:solidFill>
                  <a:srgbClr val="FF0000"/>
                </a:solidFill>
              </a:rPr>
              <a:t>可以</a:t>
            </a:r>
            <a:r>
              <a:rPr lang="zh-CN" altLang="en-US" dirty="0"/>
              <a:t>被准确计算</a:t>
            </a:r>
            <a:endParaRPr lang="en-US" altLang="zh-CN" dirty="0"/>
          </a:p>
          <a:p>
            <a:r>
              <a:rPr lang="en-US" altLang="zh-CN" dirty="0"/>
              <a:t>7.</a:t>
            </a:r>
            <a:r>
              <a:rPr lang="zh-CN" altLang="en-US" dirty="0"/>
              <a:t>数据结构的抽象操作的定义与具体实现无关</a:t>
            </a:r>
            <a:endParaRPr lang="en-US" altLang="zh-CN" dirty="0"/>
          </a:p>
          <a:p>
            <a:r>
              <a:rPr lang="en-US" altLang="zh-CN" dirty="0"/>
              <a:t>8.</a:t>
            </a:r>
            <a:r>
              <a:rPr lang="zh-CN" altLang="en-US" dirty="0"/>
              <a:t>在顺序存储结构中，不可以存储数据结构中元素之间的关系</a:t>
            </a:r>
            <a:endParaRPr lang="en-US" altLang="zh-CN" dirty="0"/>
          </a:p>
          <a:p>
            <a:r>
              <a:rPr lang="en-US" altLang="zh-CN" dirty="0"/>
              <a:t>9.</a:t>
            </a:r>
            <a:r>
              <a:rPr lang="zh-CN" altLang="en-US" dirty="0"/>
              <a:t>逻辑结构主要有</a:t>
            </a:r>
            <a:r>
              <a:rPr lang="en-US" altLang="zh-CN" dirty="0"/>
              <a:t>:</a:t>
            </a:r>
            <a:r>
              <a:rPr lang="zh-CN" altLang="en-US" dirty="0"/>
              <a:t>线性，树，图，集合</a:t>
            </a:r>
            <a:endParaRPr lang="en-US" altLang="zh-CN" dirty="0"/>
          </a:p>
          <a:p>
            <a:r>
              <a:rPr lang="zh-CN" altLang="en-US" dirty="0"/>
              <a:t>存储结构</a:t>
            </a:r>
            <a:r>
              <a:rPr lang="en-US" altLang="zh-CN" dirty="0"/>
              <a:t>:</a:t>
            </a:r>
            <a:r>
              <a:rPr lang="zh-CN" altLang="en-US" dirty="0"/>
              <a:t>顺序，链式，索引，散列</a:t>
            </a:r>
            <a:endParaRPr lang="en-US" altLang="zh-CN" dirty="0"/>
          </a:p>
          <a:p>
            <a:r>
              <a:rPr lang="en-US" altLang="zh-CN" dirty="0"/>
              <a:t>10.</a:t>
            </a:r>
            <a:r>
              <a:rPr lang="zh-CN" altLang="en-US" dirty="0"/>
              <a:t>算法的特点</a:t>
            </a:r>
            <a:r>
              <a:rPr lang="en-US" altLang="zh-CN" dirty="0"/>
              <a:t>:</a:t>
            </a:r>
            <a:r>
              <a:rPr lang="zh-CN" altLang="en-US" dirty="0"/>
              <a:t>有穷性，确定性，输入，输出，可行性</a:t>
            </a:r>
            <a:endParaRPr lang="en-US" altLang="zh-CN" dirty="0"/>
          </a:p>
          <a:p>
            <a:r>
              <a:rPr lang="en-US" altLang="zh-CN" dirty="0"/>
              <a:t>11.</a:t>
            </a:r>
            <a:r>
              <a:rPr lang="zh-CN" altLang="en-US" dirty="0"/>
              <a:t>数组一旦定义，维数与维界不可再次修改</a:t>
            </a:r>
            <a:endParaRPr lang="en-US" altLang="zh-CN"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48DA2359-9C25-4693-8254-BD2E3B6DBF41}"/>
              </a:ext>
            </a:extLst>
          </p:cNvPr>
          <p:cNvSpPr txBox="1"/>
          <p:nvPr/>
        </p:nvSpPr>
        <p:spPr>
          <a:xfrm>
            <a:off x="683568" y="1340768"/>
            <a:ext cx="8456161" cy="4524315"/>
          </a:xfrm>
          <a:prstGeom prst="rect">
            <a:avLst/>
          </a:prstGeom>
          <a:noFill/>
        </p:spPr>
        <p:txBody>
          <a:bodyPr wrap="none" rtlCol="0">
            <a:spAutoFit/>
          </a:bodyPr>
          <a:lstStyle/>
          <a:p>
            <a:r>
              <a:rPr lang="zh-CN" altLang="en-US" dirty="0"/>
              <a:t>图</a:t>
            </a:r>
            <a:r>
              <a:rPr lang="en-US" altLang="zh-CN" dirty="0"/>
              <a:t>:</a:t>
            </a:r>
          </a:p>
          <a:p>
            <a:r>
              <a:rPr lang="en-US" altLang="zh-CN" dirty="0"/>
              <a:t>1.</a:t>
            </a:r>
            <a:r>
              <a:rPr lang="zh-CN" altLang="en-US" dirty="0"/>
              <a:t>不管是</a:t>
            </a:r>
            <a:r>
              <a:rPr lang="en-US" altLang="zh-CN" dirty="0"/>
              <a:t>DFS</a:t>
            </a:r>
            <a:r>
              <a:rPr lang="zh-CN" altLang="en-US" dirty="0"/>
              <a:t>还是</a:t>
            </a:r>
            <a:r>
              <a:rPr lang="en-US" altLang="zh-CN" dirty="0"/>
              <a:t>BFS</a:t>
            </a:r>
            <a:r>
              <a:rPr lang="zh-CN" altLang="en-US" dirty="0"/>
              <a:t>，都可以同时支持有向图与无向图</a:t>
            </a:r>
            <a:endParaRPr lang="en-US" altLang="zh-CN" dirty="0"/>
          </a:p>
          <a:p>
            <a:r>
              <a:rPr lang="en-US" altLang="zh-CN" dirty="0"/>
              <a:t>2.DFS</a:t>
            </a:r>
            <a:r>
              <a:rPr lang="zh-CN" altLang="en-US" dirty="0"/>
              <a:t>与拓扑排序都可以判断图是否有环</a:t>
            </a:r>
            <a:endParaRPr lang="en-US" altLang="zh-CN" dirty="0"/>
          </a:p>
          <a:p>
            <a:r>
              <a:rPr lang="en-US" altLang="zh-CN" dirty="0"/>
              <a:t>3.</a:t>
            </a:r>
            <a:r>
              <a:rPr lang="zh-CN" altLang="en-US" dirty="0"/>
              <a:t>最小生成树</a:t>
            </a:r>
            <a:r>
              <a:rPr lang="en-US" altLang="zh-CN" dirty="0"/>
              <a:t>:</a:t>
            </a:r>
            <a:r>
              <a:rPr lang="zh-CN" altLang="en-US" dirty="0"/>
              <a:t>由</a:t>
            </a:r>
            <a:r>
              <a:rPr lang="en-US" altLang="zh-CN" dirty="0"/>
              <a:t>n</a:t>
            </a:r>
            <a:r>
              <a:rPr lang="zh-CN" altLang="en-US" dirty="0"/>
              <a:t>个顶点构成的边的权值之和最小的连通子图</a:t>
            </a:r>
            <a:endParaRPr lang="en-US" altLang="zh-CN" dirty="0"/>
          </a:p>
          <a:p>
            <a:r>
              <a:rPr lang="en-US" altLang="zh-CN" dirty="0"/>
              <a:t>4.</a:t>
            </a:r>
            <a:r>
              <a:rPr lang="zh-CN" altLang="en-US" dirty="0"/>
              <a:t>不可一次拓扑完成的图含有顶点数目大于</a:t>
            </a:r>
            <a:r>
              <a:rPr lang="en-US" altLang="zh-CN" dirty="0"/>
              <a:t>1 </a:t>
            </a:r>
            <a:r>
              <a:rPr lang="zh-CN" altLang="en-US" dirty="0"/>
              <a:t>的强联通分量</a:t>
            </a:r>
            <a:endParaRPr lang="en-US" altLang="zh-CN" dirty="0"/>
          </a:p>
          <a:p>
            <a:r>
              <a:rPr lang="en-US" altLang="zh-CN" dirty="0"/>
              <a:t>5.</a:t>
            </a:r>
            <a:r>
              <a:rPr lang="zh-CN" altLang="en-US" dirty="0"/>
              <a:t>简单路径</a:t>
            </a:r>
            <a:r>
              <a:rPr lang="en-US" altLang="zh-CN" dirty="0"/>
              <a:t>:</a:t>
            </a:r>
            <a:r>
              <a:rPr lang="zh-CN" altLang="en-US" dirty="0"/>
              <a:t>序列中顶点和边不重复出现的路径就叫做简单路径</a:t>
            </a:r>
            <a:endParaRPr lang="en-US" altLang="zh-CN" dirty="0"/>
          </a:p>
          <a:p>
            <a:r>
              <a:rPr lang="en-US" altLang="zh-CN" dirty="0"/>
              <a:t>6.</a:t>
            </a:r>
            <a:r>
              <a:rPr lang="zh-CN" altLang="en-US" dirty="0"/>
              <a:t>若关键活动不止一个，要加快完成速度必须同时使得所有的关键路径减少</a:t>
            </a:r>
            <a:endParaRPr lang="en-US" altLang="zh-CN" dirty="0"/>
          </a:p>
          <a:p>
            <a:r>
              <a:rPr lang="en-US" altLang="zh-CN" dirty="0"/>
              <a:t>7.BFS</a:t>
            </a:r>
            <a:r>
              <a:rPr lang="zh-CN" altLang="en-US" dirty="0"/>
              <a:t>类似层次遍历，都要使用到队列来解决</a:t>
            </a:r>
            <a:endParaRPr lang="en-US" altLang="zh-CN" dirty="0"/>
          </a:p>
          <a:p>
            <a:r>
              <a:rPr lang="en-US" altLang="zh-CN" dirty="0"/>
              <a:t>8.</a:t>
            </a:r>
            <a:r>
              <a:rPr lang="zh-CN" altLang="en-US" dirty="0"/>
              <a:t>无向图的度为与点相关联的边的数目，无出度与入度之分。有向图的度必须区分</a:t>
            </a:r>
            <a:endParaRPr lang="en-US" altLang="zh-CN" dirty="0"/>
          </a:p>
          <a:p>
            <a:r>
              <a:rPr lang="zh-CN" altLang="en-US" dirty="0"/>
              <a:t>出度与入度</a:t>
            </a:r>
            <a:endParaRPr lang="en-US" altLang="zh-CN" dirty="0"/>
          </a:p>
          <a:p>
            <a:r>
              <a:rPr lang="en-US" altLang="zh-CN" dirty="0"/>
              <a:t>9.</a:t>
            </a:r>
            <a:r>
              <a:rPr lang="zh-CN" altLang="en-US" dirty="0"/>
              <a:t>极小联通子图是指再添加一条边就会有环</a:t>
            </a:r>
            <a:endParaRPr lang="en-US" altLang="zh-CN" dirty="0"/>
          </a:p>
          <a:p>
            <a:r>
              <a:rPr lang="zh-CN" altLang="en-US" dirty="0"/>
              <a:t>极大连通子图是指不能再纳入顶点的图</a:t>
            </a:r>
            <a:endParaRPr lang="en-US" altLang="zh-CN" dirty="0"/>
          </a:p>
          <a:p>
            <a:r>
              <a:rPr lang="en-US" altLang="zh-CN" dirty="0"/>
              <a:t>10.</a:t>
            </a:r>
            <a:r>
              <a:rPr lang="zh-CN" altLang="en-US" dirty="0"/>
              <a:t>邻接多重表是无向图的存储结构，十字链表是有向图的存储结构</a:t>
            </a:r>
            <a:endParaRPr lang="en-US" altLang="zh-CN" dirty="0"/>
          </a:p>
          <a:p>
            <a:r>
              <a:rPr lang="en-US" altLang="zh-CN" dirty="0"/>
              <a:t>11.DFS</a:t>
            </a:r>
            <a:r>
              <a:rPr lang="zh-CN" altLang="en-US" dirty="0"/>
              <a:t>类似于先序遍历，</a:t>
            </a:r>
            <a:r>
              <a:rPr lang="en-US" altLang="zh-CN" dirty="0"/>
              <a:t>BFS</a:t>
            </a:r>
            <a:r>
              <a:rPr lang="zh-CN" altLang="en-US" dirty="0"/>
              <a:t>类似于层次遍历，</a:t>
            </a:r>
            <a:r>
              <a:rPr lang="en-US" altLang="zh-CN" dirty="0"/>
              <a:t>DFS</a:t>
            </a:r>
            <a:r>
              <a:rPr lang="zh-CN" altLang="en-US" dirty="0"/>
              <a:t>是栈的应用，</a:t>
            </a:r>
            <a:r>
              <a:rPr lang="en-US" altLang="zh-CN" dirty="0"/>
              <a:t>BFS</a:t>
            </a:r>
            <a:r>
              <a:rPr lang="zh-CN" altLang="en-US" dirty="0"/>
              <a:t>是队列的</a:t>
            </a:r>
            <a:endParaRPr lang="en-US" altLang="zh-CN" dirty="0"/>
          </a:p>
          <a:p>
            <a:r>
              <a:rPr lang="zh-CN" altLang="en-US" dirty="0"/>
              <a:t>应用</a:t>
            </a:r>
            <a:endParaRPr lang="en-US" altLang="zh-CN" dirty="0"/>
          </a:p>
          <a:p>
            <a:r>
              <a:rPr lang="en-US" altLang="zh-CN" dirty="0"/>
              <a:t>12.</a:t>
            </a:r>
            <a:r>
              <a:rPr lang="zh-CN" altLang="en-US" dirty="0"/>
              <a:t>有向图的拓扑序列</a:t>
            </a:r>
            <a:r>
              <a:rPr lang="zh-CN" altLang="en-US" dirty="0">
                <a:solidFill>
                  <a:srgbClr val="FF0000"/>
                </a:solidFill>
              </a:rPr>
              <a:t>不唯一</a:t>
            </a:r>
            <a:r>
              <a:rPr lang="zh-CN" altLang="en-US" dirty="0"/>
              <a:t>，所以一个拓扑序列并不能确定唯一的图</a:t>
            </a:r>
          </a:p>
        </p:txBody>
      </p:sp>
    </p:spTree>
    <p:extLst>
      <p:ext uri="{BB962C8B-B14F-4D97-AF65-F5344CB8AC3E}">
        <p14:creationId xmlns:p14="http://schemas.microsoft.com/office/powerpoint/2010/main" val="760197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BB5E173-8F17-41EC-9C54-7AFDAA12FBE5}"/>
              </a:ext>
            </a:extLst>
          </p:cNvPr>
          <p:cNvSpPr txBox="1"/>
          <p:nvPr/>
        </p:nvSpPr>
        <p:spPr>
          <a:xfrm>
            <a:off x="827584" y="1412776"/>
            <a:ext cx="8404865" cy="1754326"/>
          </a:xfrm>
          <a:prstGeom prst="rect">
            <a:avLst/>
          </a:prstGeom>
          <a:noFill/>
        </p:spPr>
        <p:txBody>
          <a:bodyPr wrap="none" rtlCol="0">
            <a:spAutoFit/>
          </a:bodyPr>
          <a:lstStyle/>
          <a:p>
            <a:r>
              <a:rPr lang="en-US" altLang="zh-CN" dirty="0"/>
              <a:t>13.</a:t>
            </a:r>
            <a:r>
              <a:rPr lang="zh-CN" altLang="en-US" dirty="0"/>
              <a:t>要求写强联通分量，一定一定要注意将所有的点全部写进去</a:t>
            </a:r>
            <a:endParaRPr lang="en-US" altLang="zh-CN" dirty="0"/>
          </a:p>
          <a:p>
            <a:r>
              <a:rPr lang="en-US" altLang="zh-CN" dirty="0"/>
              <a:t>14.AOV</a:t>
            </a:r>
            <a:r>
              <a:rPr lang="zh-CN" altLang="en-US" dirty="0"/>
              <a:t>网是一种拟序关系（领先关系），具有传递性和反自反性</a:t>
            </a:r>
            <a:endParaRPr lang="en-US" altLang="zh-CN" dirty="0"/>
          </a:p>
          <a:p>
            <a:r>
              <a:rPr lang="en-US" altLang="zh-CN" dirty="0"/>
              <a:t>15.</a:t>
            </a:r>
            <a:r>
              <a:rPr lang="zh-CN" altLang="en-US" dirty="0"/>
              <a:t>影响图的遍历结果的基本因素有两个</a:t>
            </a:r>
            <a:r>
              <a:rPr lang="en-US" altLang="zh-CN" dirty="0"/>
              <a:t>:</a:t>
            </a:r>
            <a:r>
              <a:rPr lang="zh-CN" altLang="en-US" dirty="0"/>
              <a:t>一是遍历的起始顶点的选择，</a:t>
            </a:r>
            <a:endParaRPr lang="en-US" altLang="zh-CN" dirty="0"/>
          </a:p>
          <a:p>
            <a:r>
              <a:rPr lang="zh-CN" altLang="en-US" dirty="0"/>
              <a:t>二是邻接点的选取次序</a:t>
            </a:r>
            <a:endParaRPr lang="en-US" altLang="zh-CN" dirty="0"/>
          </a:p>
          <a:p>
            <a:r>
              <a:rPr lang="en-US" altLang="zh-CN" dirty="0"/>
              <a:t>16.</a:t>
            </a:r>
            <a:r>
              <a:rPr lang="zh-CN" altLang="en-US" dirty="0"/>
              <a:t>在</a:t>
            </a:r>
            <a:r>
              <a:rPr lang="en-US" altLang="zh-CN" dirty="0"/>
              <a:t>n</a:t>
            </a:r>
            <a:r>
              <a:rPr lang="zh-CN" altLang="en-US" dirty="0"/>
              <a:t>个顶点的连通图用邻接矩阵表示时，该矩阵至少有</a:t>
            </a:r>
            <a:r>
              <a:rPr lang="en-US" altLang="zh-CN" dirty="0"/>
              <a:t>2(n-1)</a:t>
            </a:r>
            <a:r>
              <a:rPr lang="zh-CN" altLang="en-US" dirty="0"/>
              <a:t>个非零元素，如果</a:t>
            </a:r>
            <a:endParaRPr lang="en-US" altLang="zh-CN" dirty="0"/>
          </a:p>
          <a:p>
            <a:r>
              <a:rPr lang="zh-CN" altLang="en-US" dirty="0"/>
              <a:t>含</a:t>
            </a:r>
            <a:r>
              <a:rPr lang="en-US" altLang="zh-CN" dirty="0"/>
              <a:t>n</a:t>
            </a:r>
            <a:r>
              <a:rPr lang="zh-CN" altLang="en-US" dirty="0"/>
              <a:t>个顶点的图构成一个环，则他有</a:t>
            </a:r>
            <a:r>
              <a:rPr lang="en-US" altLang="zh-CN" dirty="0"/>
              <a:t>n</a:t>
            </a:r>
            <a:r>
              <a:rPr lang="zh-CN" altLang="en-US" dirty="0"/>
              <a:t>颗生成树</a:t>
            </a:r>
          </a:p>
        </p:txBody>
      </p:sp>
    </p:spTree>
    <p:extLst>
      <p:ext uri="{BB962C8B-B14F-4D97-AF65-F5344CB8AC3E}">
        <p14:creationId xmlns:p14="http://schemas.microsoft.com/office/powerpoint/2010/main" val="77465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D329721-8A1F-4695-B9BA-0EE4BA39FA81}"/>
              </a:ext>
            </a:extLst>
          </p:cNvPr>
          <p:cNvSpPr txBox="1"/>
          <p:nvPr/>
        </p:nvSpPr>
        <p:spPr>
          <a:xfrm>
            <a:off x="827584" y="1124744"/>
            <a:ext cx="8122736" cy="4247317"/>
          </a:xfrm>
          <a:prstGeom prst="rect">
            <a:avLst/>
          </a:prstGeom>
          <a:noFill/>
        </p:spPr>
        <p:txBody>
          <a:bodyPr wrap="none" rtlCol="0">
            <a:spAutoFit/>
          </a:bodyPr>
          <a:lstStyle/>
          <a:p>
            <a:r>
              <a:rPr lang="zh-CN" altLang="en-US" dirty="0"/>
              <a:t>查找</a:t>
            </a:r>
            <a:endParaRPr lang="en-US" altLang="zh-CN" dirty="0"/>
          </a:p>
          <a:p>
            <a:r>
              <a:rPr lang="en-US" altLang="zh-CN" dirty="0"/>
              <a:t>1.</a:t>
            </a:r>
            <a:r>
              <a:rPr lang="zh-CN" altLang="en-US" dirty="0"/>
              <a:t>平方探查法，二次探查发，先左后右，移动步长为</a:t>
            </a:r>
            <a:r>
              <a:rPr lang="en-US" altLang="zh-CN" dirty="0"/>
              <a:t>n^2</a:t>
            </a:r>
            <a:r>
              <a:rPr lang="zh-CN" altLang="en-US" dirty="0"/>
              <a:t>而非</a:t>
            </a:r>
            <a:r>
              <a:rPr lang="en-US" altLang="zh-CN" dirty="0"/>
              <a:t>2^n</a:t>
            </a:r>
          </a:p>
          <a:p>
            <a:r>
              <a:rPr lang="en-US" altLang="zh-CN" dirty="0"/>
              <a:t>2.</a:t>
            </a:r>
            <a:r>
              <a:rPr lang="zh-CN" altLang="en-US" dirty="0"/>
              <a:t>采用分块查找时，数据的组织方式为</a:t>
            </a:r>
            <a:r>
              <a:rPr lang="en-US" altLang="zh-CN" dirty="0"/>
              <a:t>:</a:t>
            </a:r>
            <a:r>
              <a:rPr lang="zh-CN" altLang="en-US" dirty="0"/>
              <a:t>数据分为若干块，每块内数据有序，</a:t>
            </a:r>
            <a:endParaRPr lang="en-US" altLang="zh-CN" dirty="0"/>
          </a:p>
          <a:p>
            <a:r>
              <a:rPr lang="zh-CN" altLang="en-US" dirty="0"/>
              <a:t>每块内最大</a:t>
            </a:r>
            <a:r>
              <a:rPr lang="en-US" altLang="zh-CN" dirty="0"/>
              <a:t>(</a:t>
            </a:r>
            <a:r>
              <a:rPr lang="zh-CN" altLang="en-US" dirty="0"/>
              <a:t>或最小的</a:t>
            </a:r>
            <a:r>
              <a:rPr lang="en-US" altLang="zh-CN" dirty="0"/>
              <a:t>)</a:t>
            </a:r>
            <a:r>
              <a:rPr lang="zh-CN" altLang="en-US" dirty="0"/>
              <a:t>的数据组成索引块</a:t>
            </a:r>
            <a:endParaRPr lang="en-US" altLang="zh-CN" dirty="0"/>
          </a:p>
          <a:p>
            <a:r>
              <a:rPr lang="en-US" altLang="zh-CN" dirty="0"/>
              <a:t>3.</a:t>
            </a:r>
            <a:r>
              <a:rPr lang="zh-CN" altLang="en-US" dirty="0"/>
              <a:t>对</a:t>
            </a:r>
            <a:r>
              <a:rPr lang="en-US" altLang="zh-CN" dirty="0"/>
              <a:t>n</a:t>
            </a:r>
            <a:r>
              <a:rPr lang="zh-CN" altLang="en-US" dirty="0"/>
              <a:t>个记录的索引顺序表进行查找，最理想的快长是根号</a:t>
            </a:r>
            <a:r>
              <a:rPr lang="en-US" altLang="zh-CN" dirty="0"/>
              <a:t>n</a:t>
            </a:r>
          </a:p>
          <a:p>
            <a:r>
              <a:rPr lang="en-US" altLang="zh-CN" dirty="0"/>
              <a:t>4.</a:t>
            </a:r>
            <a:r>
              <a:rPr lang="zh-CN" altLang="en-US" dirty="0"/>
              <a:t>分块查找中平均查找长度</a:t>
            </a:r>
            <a:r>
              <a:rPr lang="zh-CN" altLang="en-US" dirty="0">
                <a:sym typeface="Wingdings" panose="05000000000000000000" pitchFamily="2" charset="2"/>
              </a:rPr>
              <a:t>： （块长度</a:t>
            </a:r>
            <a:r>
              <a:rPr lang="en-US" altLang="zh-CN" dirty="0">
                <a:sym typeface="Wingdings" panose="05000000000000000000" pitchFamily="2" charset="2"/>
              </a:rPr>
              <a:t>+1</a:t>
            </a:r>
            <a:r>
              <a:rPr lang="zh-CN" altLang="en-US" dirty="0">
                <a:sym typeface="Wingdings" panose="05000000000000000000" pitchFamily="2" charset="2"/>
              </a:rPr>
              <a:t>）</a:t>
            </a:r>
            <a:r>
              <a:rPr lang="en-US" altLang="zh-CN" dirty="0">
                <a:sym typeface="Wingdings" panose="05000000000000000000" pitchFamily="2" charset="2"/>
              </a:rPr>
              <a:t>/2 + (</a:t>
            </a:r>
            <a:r>
              <a:rPr lang="zh-CN" altLang="en-US" dirty="0">
                <a:sym typeface="Wingdings" panose="05000000000000000000" pitchFamily="2" charset="2"/>
              </a:rPr>
              <a:t>块内关键字个数 </a:t>
            </a:r>
            <a:r>
              <a:rPr lang="en-US" altLang="zh-CN" dirty="0">
                <a:sym typeface="Wingdings" panose="05000000000000000000" pitchFamily="2" charset="2"/>
              </a:rPr>
              <a:t>+ 1)/2</a:t>
            </a:r>
          </a:p>
          <a:p>
            <a:r>
              <a:rPr lang="en-US" altLang="zh-CN" dirty="0">
                <a:sym typeface="Wingdings" panose="05000000000000000000" pitchFamily="2" charset="2"/>
              </a:rPr>
              <a:t>5.</a:t>
            </a:r>
            <a:r>
              <a:rPr lang="zh-CN" altLang="en-US" dirty="0">
                <a:sym typeface="Wingdings" panose="05000000000000000000" pitchFamily="2" charset="2"/>
              </a:rPr>
              <a:t>对半搜索有序表，若有</a:t>
            </a:r>
            <a:r>
              <a:rPr lang="en-US" altLang="zh-CN" dirty="0">
                <a:sym typeface="Wingdings" panose="05000000000000000000" pitchFamily="2" charset="2"/>
              </a:rPr>
              <a:t>n</a:t>
            </a:r>
            <a:r>
              <a:rPr lang="zh-CN" altLang="en-US" dirty="0">
                <a:sym typeface="Wingdings" panose="05000000000000000000" pitchFamily="2" charset="2"/>
              </a:rPr>
              <a:t>个关键字，若查找不成功，则最少比较</a:t>
            </a:r>
            <a:r>
              <a:rPr lang="en-US" altLang="zh-CN" dirty="0">
                <a:sym typeface="Wingdings" panose="05000000000000000000" pitchFamily="2" charset="2"/>
              </a:rPr>
              <a:t>log2-&gt;n</a:t>
            </a:r>
          </a:p>
          <a:p>
            <a:r>
              <a:rPr lang="zh-CN" altLang="en-US" dirty="0">
                <a:sym typeface="Wingdings" panose="05000000000000000000" pitchFamily="2" charset="2"/>
              </a:rPr>
              <a:t>下取次，最多</a:t>
            </a:r>
            <a:r>
              <a:rPr lang="en-US" altLang="zh-CN" dirty="0">
                <a:sym typeface="Wingdings" panose="05000000000000000000" pitchFamily="2" charset="2"/>
              </a:rPr>
              <a:t>log2-&gt;n</a:t>
            </a:r>
            <a:r>
              <a:rPr lang="zh-CN" altLang="en-US" dirty="0">
                <a:sym typeface="Wingdings" panose="05000000000000000000" pitchFamily="2" charset="2"/>
              </a:rPr>
              <a:t>下取 </a:t>
            </a:r>
            <a:r>
              <a:rPr lang="en-US" altLang="zh-CN" dirty="0">
                <a:sym typeface="Wingdings" panose="05000000000000000000" pitchFamily="2" charset="2"/>
              </a:rPr>
              <a:t>+ 1</a:t>
            </a:r>
          </a:p>
          <a:p>
            <a:r>
              <a:rPr lang="en-US" altLang="zh-CN" dirty="0">
                <a:sym typeface="Wingdings" panose="05000000000000000000" pitchFamily="2" charset="2"/>
              </a:rPr>
              <a:t>6.{25,18,34,9,14,27,42,51,38}</a:t>
            </a:r>
            <a:r>
              <a:rPr lang="zh-CN" altLang="en-US" dirty="0">
                <a:sym typeface="Wingdings" panose="05000000000000000000" pitchFamily="2" charset="2"/>
              </a:rPr>
              <a:t>，假定查找各关键字概率相同，请画出最佳</a:t>
            </a:r>
            <a:endParaRPr lang="en-US" altLang="zh-CN" dirty="0">
              <a:sym typeface="Wingdings" panose="05000000000000000000" pitchFamily="2" charset="2"/>
            </a:endParaRPr>
          </a:p>
          <a:p>
            <a:r>
              <a:rPr lang="zh-CN" altLang="en-US" dirty="0">
                <a:sym typeface="Wingdings" panose="05000000000000000000" pitchFamily="2" charset="2"/>
              </a:rPr>
              <a:t>二叉排序树</a:t>
            </a:r>
            <a:endParaRPr lang="en-US" altLang="zh-CN" dirty="0">
              <a:sym typeface="Wingdings" panose="05000000000000000000" pitchFamily="2" charset="2"/>
            </a:endParaRPr>
          </a:p>
          <a:p>
            <a:r>
              <a:rPr lang="en-US" altLang="zh-CN" dirty="0">
                <a:sym typeface="Wingdings" panose="05000000000000000000" pitchFamily="2" charset="2"/>
              </a:rPr>
              <a:t>7.</a:t>
            </a:r>
            <a:r>
              <a:rPr lang="zh-CN" altLang="en-US" dirty="0">
                <a:sym typeface="Wingdings" panose="05000000000000000000" pitchFamily="2" charset="2"/>
              </a:rPr>
              <a:t>二分搜索不一定是对半划分，只有对半搜索算法才是将有序表对半划分</a:t>
            </a:r>
            <a:endParaRPr lang="en-US" altLang="zh-CN" dirty="0">
              <a:sym typeface="Wingdings" panose="05000000000000000000" pitchFamily="2" charset="2"/>
            </a:endParaRPr>
          </a:p>
          <a:p>
            <a:r>
              <a:rPr lang="en-US" altLang="zh-CN" dirty="0">
                <a:sym typeface="Wingdings" panose="05000000000000000000" pitchFamily="2" charset="2"/>
              </a:rPr>
              <a:t>8.</a:t>
            </a:r>
            <a:r>
              <a:rPr lang="zh-CN" altLang="en-US" dirty="0">
                <a:sym typeface="Wingdings" panose="05000000000000000000" pitchFamily="2" charset="2"/>
              </a:rPr>
              <a:t>对大小均为</a:t>
            </a:r>
            <a:r>
              <a:rPr lang="en-US" altLang="zh-CN" dirty="0">
                <a:sym typeface="Wingdings" panose="05000000000000000000" pitchFamily="2" charset="2"/>
              </a:rPr>
              <a:t>n</a:t>
            </a:r>
            <a:r>
              <a:rPr lang="zh-CN" altLang="en-US" dirty="0">
                <a:sym typeface="Wingdings" panose="05000000000000000000" pitchFamily="2" charset="2"/>
              </a:rPr>
              <a:t>的有序表和无序表分别进行顺序搜索，在等概率搜索的情况下，</a:t>
            </a:r>
            <a:endParaRPr lang="en-US" altLang="zh-CN" dirty="0">
              <a:sym typeface="Wingdings" panose="05000000000000000000" pitchFamily="2" charset="2"/>
            </a:endParaRPr>
          </a:p>
          <a:p>
            <a:r>
              <a:rPr lang="zh-CN" altLang="en-US" dirty="0">
                <a:sym typeface="Wingdings" panose="05000000000000000000" pitchFamily="2" charset="2"/>
              </a:rPr>
              <a:t>成功搜索的平均搜索长度基本相等</a:t>
            </a:r>
            <a:endParaRPr lang="en-US" altLang="zh-CN" dirty="0">
              <a:sym typeface="Wingdings" panose="05000000000000000000" pitchFamily="2" charset="2"/>
            </a:endParaRPr>
          </a:p>
          <a:p>
            <a:r>
              <a:rPr lang="en-US" altLang="zh-CN" dirty="0">
                <a:sym typeface="Wingdings" panose="05000000000000000000" pitchFamily="2" charset="2"/>
              </a:rPr>
              <a:t>9.</a:t>
            </a:r>
            <a:r>
              <a:rPr lang="zh-CN" altLang="en-US" dirty="0">
                <a:sym typeface="Wingdings" panose="05000000000000000000" pitchFamily="2" charset="2"/>
              </a:rPr>
              <a:t>哨兵节点</a:t>
            </a:r>
            <a:r>
              <a:rPr lang="en-US" altLang="zh-CN" dirty="0">
                <a:sym typeface="Wingdings" panose="05000000000000000000" pitchFamily="2" charset="2"/>
              </a:rPr>
              <a:t>:</a:t>
            </a:r>
            <a:r>
              <a:rPr lang="zh-CN" altLang="en-US" dirty="0">
                <a:sym typeface="Wingdings" panose="05000000000000000000" pitchFamily="2" charset="2"/>
              </a:rPr>
              <a:t>（在顺序搜索有序表时）的作用</a:t>
            </a:r>
            <a:r>
              <a:rPr lang="en-US" altLang="zh-CN" dirty="0">
                <a:sym typeface="Wingdings" panose="05000000000000000000" pitchFamily="2" charset="2"/>
              </a:rPr>
              <a:t>:</a:t>
            </a:r>
          </a:p>
          <a:p>
            <a:r>
              <a:rPr lang="zh-CN" altLang="en-US" dirty="0">
                <a:sym typeface="Wingdings" panose="05000000000000000000" pitchFamily="2" charset="2"/>
              </a:rPr>
              <a:t>在循环中不再需要通过比较下标来判定是否已经检查完整个表</a:t>
            </a:r>
            <a:endParaRPr lang="zh-CN" altLang="en-US" dirty="0"/>
          </a:p>
        </p:txBody>
      </p:sp>
    </p:spTree>
    <p:extLst>
      <p:ext uri="{BB962C8B-B14F-4D97-AF65-F5344CB8AC3E}">
        <p14:creationId xmlns:p14="http://schemas.microsoft.com/office/powerpoint/2010/main" val="2039772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D9DDFFA-4F56-420D-A501-A4922C0239FA}"/>
              </a:ext>
            </a:extLst>
          </p:cNvPr>
          <p:cNvSpPr txBox="1"/>
          <p:nvPr/>
        </p:nvSpPr>
        <p:spPr>
          <a:xfrm>
            <a:off x="1043608" y="1772816"/>
            <a:ext cx="8071440" cy="2031325"/>
          </a:xfrm>
          <a:prstGeom prst="rect">
            <a:avLst/>
          </a:prstGeom>
          <a:noFill/>
        </p:spPr>
        <p:txBody>
          <a:bodyPr wrap="none" rtlCol="0">
            <a:spAutoFit/>
          </a:bodyPr>
          <a:lstStyle/>
          <a:p>
            <a:r>
              <a:rPr lang="zh-CN" altLang="en-US" dirty="0"/>
              <a:t>排序</a:t>
            </a:r>
            <a:r>
              <a:rPr lang="en-US" altLang="zh-CN" dirty="0"/>
              <a:t>:</a:t>
            </a:r>
          </a:p>
          <a:p>
            <a:r>
              <a:rPr lang="en-US" altLang="zh-CN" dirty="0"/>
              <a:t>1.</a:t>
            </a:r>
            <a:r>
              <a:rPr lang="zh-CN" altLang="en-US" dirty="0"/>
              <a:t>折半插入排序与直接插入排序不同之处只有元素之间的比较次数</a:t>
            </a:r>
            <a:endParaRPr lang="en-US" altLang="zh-CN" dirty="0"/>
          </a:p>
          <a:p>
            <a:r>
              <a:rPr lang="en-US" altLang="zh-CN" dirty="0"/>
              <a:t>2.</a:t>
            </a:r>
            <a:r>
              <a:rPr lang="zh-CN" altLang="en-US" dirty="0"/>
              <a:t>采用简单选择排序，比较次数与交换次数满足</a:t>
            </a:r>
            <a:r>
              <a:rPr lang="en-US" altLang="zh-CN" dirty="0"/>
              <a:t>O(n^2),O(n)</a:t>
            </a:r>
          </a:p>
          <a:p>
            <a:r>
              <a:rPr lang="en-US" altLang="zh-CN" dirty="0"/>
              <a:t>3.</a:t>
            </a:r>
            <a:r>
              <a:rPr lang="zh-CN" altLang="en-US" dirty="0"/>
              <a:t>堆排序第一次是从由下而上由右往左第一个非叶子节点进行调整，后面调整</a:t>
            </a:r>
            <a:endParaRPr lang="en-US" altLang="zh-CN" dirty="0"/>
          </a:p>
          <a:p>
            <a:r>
              <a:rPr lang="zh-CN" altLang="en-US" dirty="0"/>
              <a:t>都是从根节点调整</a:t>
            </a:r>
            <a:endParaRPr lang="en-US" altLang="zh-CN" dirty="0"/>
          </a:p>
          <a:p>
            <a:r>
              <a:rPr lang="en-US" altLang="zh-CN" dirty="0"/>
              <a:t>4.{23,17,72,60,25,8,68,71,52}</a:t>
            </a:r>
            <a:r>
              <a:rPr lang="zh-CN" altLang="en-US" dirty="0"/>
              <a:t>进行堆排序，输出两个最小关键字后剩余堆是？</a:t>
            </a:r>
            <a:endParaRPr lang="en-US" altLang="zh-CN" dirty="0"/>
          </a:p>
          <a:p>
            <a:endParaRPr lang="zh-CN" altLang="en-US" dirty="0"/>
          </a:p>
        </p:txBody>
      </p:sp>
      <mc:AlternateContent xmlns:mc="http://schemas.openxmlformats.org/markup-compatibility/2006" xmlns:p14="http://schemas.microsoft.com/office/powerpoint/2010/main">
        <mc:Choice Requires="p14">
          <p:contentPart p14:bwMode="auto" r:id="rId2">
            <p14:nvContentPartPr>
              <p14:cNvPr id="3" name="墨迹 2">
                <a:extLst>
                  <a:ext uri="{FF2B5EF4-FFF2-40B4-BE49-F238E27FC236}">
                    <a16:creationId xmlns:a16="http://schemas.microsoft.com/office/drawing/2014/main" id="{7AFF0181-E2D9-4DF4-987C-513B1FD1CA84}"/>
                  </a:ext>
                </a:extLst>
              </p14:cNvPr>
              <p14:cNvContentPartPr/>
              <p14:nvPr/>
            </p14:nvContentPartPr>
            <p14:xfrm>
              <a:off x="97560" y="3097080"/>
              <a:ext cx="7140960" cy="3094200"/>
            </p14:xfrm>
          </p:contentPart>
        </mc:Choice>
        <mc:Fallback xmlns="">
          <p:pic>
            <p:nvPicPr>
              <p:cNvPr id="3" name="墨迹 2">
                <a:extLst>
                  <a:ext uri="{FF2B5EF4-FFF2-40B4-BE49-F238E27FC236}">
                    <a16:creationId xmlns:a16="http://schemas.microsoft.com/office/drawing/2014/main" id="{7AFF0181-E2D9-4DF4-987C-513B1FD1CA84}"/>
                  </a:ext>
                </a:extLst>
              </p:cNvPr>
              <p:cNvPicPr/>
              <p:nvPr/>
            </p:nvPicPr>
            <p:blipFill>
              <a:blip r:embed="rId3"/>
              <a:stretch>
                <a:fillRect/>
              </a:stretch>
            </p:blipFill>
            <p:spPr>
              <a:xfrm>
                <a:off x="88200" y="3087720"/>
                <a:ext cx="7159680" cy="3112920"/>
              </a:xfrm>
              <a:prstGeom prst="rect">
                <a:avLst/>
              </a:prstGeom>
            </p:spPr>
          </p:pic>
        </mc:Fallback>
      </mc:AlternateContent>
    </p:spTree>
    <p:extLst>
      <p:ext uri="{BB962C8B-B14F-4D97-AF65-F5344CB8AC3E}">
        <p14:creationId xmlns:p14="http://schemas.microsoft.com/office/powerpoint/2010/main" val="1067295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CD8356E2-BDDF-48C6-BC1C-50460590E7A2}"/>
              </a:ext>
            </a:extLst>
          </p:cNvPr>
          <p:cNvSpPr txBox="1"/>
          <p:nvPr/>
        </p:nvSpPr>
        <p:spPr>
          <a:xfrm>
            <a:off x="323528" y="692696"/>
            <a:ext cx="7641836" cy="5355312"/>
          </a:xfrm>
          <a:prstGeom prst="rect">
            <a:avLst/>
          </a:prstGeom>
          <a:noFill/>
        </p:spPr>
        <p:txBody>
          <a:bodyPr wrap="none" rtlCol="0">
            <a:spAutoFit/>
          </a:bodyPr>
          <a:lstStyle/>
          <a:p>
            <a:r>
              <a:rPr lang="en-US" altLang="zh-CN" dirty="0"/>
              <a:t>5.</a:t>
            </a:r>
            <a:r>
              <a:rPr lang="zh-CN" altLang="en-US" dirty="0"/>
              <a:t>插入类排序</a:t>
            </a:r>
            <a:r>
              <a:rPr lang="en-US" altLang="zh-CN" dirty="0"/>
              <a:t>:</a:t>
            </a:r>
            <a:r>
              <a:rPr lang="zh-CN" altLang="en-US" dirty="0"/>
              <a:t>直接插入，折半插入，希尔排序</a:t>
            </a:r>
            <a:endParaRPr lang="en-US" altLang="zh-CN" dirty="0"/>
          </a:p>
          <a:p>
            <a:r>
              <a:rPr lang="zh-CN" altLang="en-US" dirty="0"/>
              <a:t>交换类排序：冒泡排序，快速排序</a:t>
            </a:r>
            <a:endParaRPr lang="en-US" altLang="zh-CN" dirty="0"/>
          </a:p>
          <a:p>
            <a:r>
              <a:rPr lang="zh-CN" altLang="en-US" dirty="0"/>
              <a:t>选择类排序：简单选择排序，堆排序</a:t>
            </a:r>
            <a:endParaRPr lang="en-US" altLang="zh-CN" dirty="0"/>
          </a:p>
          <a:p>
            <a:endParaRPr lang="en-US" altLang="zh-CN" dirty="0"/>
          </a:p>
          <a:p>
            <a:r>
              <a:rPr lang="en-US" altLang="zh-CN" dirty="0"/>
              <a:t>6.</a:t>
            </a:r>
            <a:r>
              <a:rPr lang="zh-CN" altLang="en-US" dirty="0"/>
              <a:t>冒泡排序从前向后与从后向前排序趟数不一定相同</a:t>
            </a:r>
            <a:endParaRPr lang="en-US" altLang="zh-CN" dirty="0"/>
          </a:p>
          <a:p>
            <a:r>
              <a:rPr lang="en-US" altLang="zh-CN" dirty="0"/>
              <a:t>7.</a:t>
            </a:r>
            <a:r>
              <a:rPr lang="zh-CN" altLang="en-US" dirty="0"/>
              <a:t>对</a:t>
            </a:r>
            <a:r>
              <a:rPr lang="en-US" altLang="zh-CN" dirty="0"/>
              <a:t>n</a:t>
            </a:r>
            <a:r>
              <a:rPr lang="zh-CN" altLang="en-US" dirty="0"/>
              <a:t>个关键字进行快速排序，最大递归深度为</a:t>
            </a:r>
            <a:r>
              <a:rPr lang="en-US" altLang="zh-CN" dirty="0"/>
              <a:t>n</a:t>
            </a:r>
            <a:r>
              <a:rPr lang="zh-CN" altLang="en-US" dirty="0"/>
              <a:t>，最小递归深度为</a:t>
            </a:r>
            <a:r>
              <a:rPr lang="en-US" altLang="zh-CN" dirty="0"/>
              <a:t>log2-&gt;n</a:t>
            </a:r>
          </a:p>
          <a:p>
            <a:r>
              <a:rPr lang="en-US" altLang="zh-CN" dirty="0"/>
              <a:t>8.</a:t>
            </a:r>
            <a:r>
              <a:rPr lang="zh-CN" altLang="en-US" dirty="0"/>
              <a:t>向有</a:t>
            </a:r>
            <a:r>
              <a:rPr lang="en-US" altLang="zh-CN" dirty="0"/>
              <a:t>n</a:t>
            </a:r>
            <a:r>
              <a:rPr lang="zh-CN" altLang="en-US" dirty="0"/>
              <a:t>个节点的堆中插入一个新元素的时间复杂度为</a:t>
            </a:r>
            <a:r>
              <a:rPr lang="en-US" altLang="zh-CN" dirty="0"/>
              <a:t>O(log2-&gt;n)</a:t>
            </a:r>
          </a:p>
          <a:p>
            <a:r>
              <a:rPr lang="zh-CN" altLang="en-US" dirty="0"/>
              <a:t>删除一个元素的时间复杂度为</a:t>
            </a:r>
            <a:r>
              <a:rPr lang="en-US" altLang="zh-CN" dirty="0"/>
              <a:t>O(log2-&gt;n)</a:t>
            </a:r>
          </a:p>
          <a:p>
            <a:r>
              <a:rPr lang="en-US" altLang="zh-CN" dirty="0"/>
              <a:t>9.</a:t>
            </a:r>
            <a:r>
              <a:rPr lang="zh-CN" altLang="en-US" dirty="0"/>
              <a:t>归并排序是辅助空间使用最多的一种排序为</a:t>
            </a:r>
            <a:r>
              <a:rPr lang="en-US" altLang="zh-CN" dirty="0"/>
              <a:t>O(n)</a:t>
            </a:r>
          </a:p>
          <a:p>
            <a:r>
              <a:rPr lang="zh-CN" altLang="en-US" dirty="0"/>
              <a:t>快速排序最坏情况下为</a:t>
            </a:r>
            <a:r>
              <a:rPr lang="en-US" altLang="zh-CN" dirty="0"/>
              <a:t>O(n)</a:t>
            </a:r>
          </a:p>
          <a:p>
            <a:r>
              <a:rPr lang="en-US" altLang="zh-CN" dirty="0"/>
              <a:t>10.</a:t>
            </a:r>
            <a:r>
              <a:rPr lang="zh-CN" altLang="en-US" dirty="0"/>
              <a:t>二路归并归并趟数数量级为</a:t>
            </a:r>
            <a:r>
              <a:rPr lang="en-US" altLang="zh-CN" dirty="0"/>
              <a:t>O(log2-&gt;n)</a:t>
            </a:r>
          </a:p>
          <a:p>
            <a:r>
              <a:rPr lang="en-US" altLang="zh-CN" dirty="0"/>
              <a:t>11.</a:t>
            </a:r>
            <a:r>
              <a:rPr lang="zh-CN" altLang="en-US" dirty="0"/>
              <a:t>表长为</a:t>
            </a:r>
            <a:r>
              <a:rPr lang="en-US" altLang="zh-CN" dirty="0"/>
              <a:t>n</a:t>
            </a:r>
            <a:r>
              <a:rPr lang="zh-CN" altLang="en-US" dirty="0"/>
              <a:t>的线性表排序时间最快为</a:t>
            </a:r>
            <a:r>
              <a:rPr lang="en-US" altLang="zh-CN" dirty="0"/>
              <a:t>O(n)【</a:t>
            </a:r>
            <a:r>
              <a:rPr lang="zh-CN" altLang="en-US" dirty="0"/>
              <a:t>冒泡，直插</a:t>
            </a:r>
            <a:r>
              <a:rPr lang="en-US" altLang="zh-CN" dirty="0"/>
              <a:t>】</a:t>
            </a:r>
          </a:p>
          <a:p>
            <a:r>
              <a:rPr lang="en-US" altLang="zh-CN" dirty="0"/>
              <a:t>12.</a:t>
            </a:r>
            <a:r>
              <a:rPr lang="zh-CN" altLang="en-US" dirty="0"/>
              <a:t>试举出一种可以改善快速排序最坏情况时间性能的措施不</a:t>
            </a:r>
            <a:r>
              <a:rPr lang="en-US" altLang="zh-CN" dirty="0"/>
              <a:t>:</a:t>
            </a:r>
          </a:p>
          <a:p>
            <a:r>
              <a:rPr lang="zh-CN" altLang="en-US" dirty="0"/>
              <a:t>改善措施</a:t>
            </a:r>
            <a:r>
              <a:rPr lang="en-US" altLang="zh-CN" dirty="0"/>
              <a:t>:</a:t>
            </a:r>
            <a:r>
              <a:rPr lang="zh-CN" altLang="en-US" dirty="0"/>
              <a:t>每趟选择主元素可以选择使用待分割的序列的头中尾三个元素的</a:t>
            </a:r>
            <a:endParaRPr lang="en-US" altLang="zh-CN" dirty="0"/>
          </a:p>
          <a:p>
            <a:r>
              <a:rPr lang="zh-CN" altLang="en-US" dirty="0"/>
              <a:t>关键字值中间值的元素</a:t>
            </a:r>
            <a:endParaRPr lang="en-US" altLang="zh-CN" dirty="0"/>
          </a:p>
          <a:p>
            <a:r>
              <a:rPr lang="en-US" altLang="zh-CN" dirty="0"/>
              <a:t>13.</a:t>
            </a:r>
            <a:r>
              <a:rPr lang="zh-CN" altLang="en-US" dirty="0"/>
              <a:t>基数排序是将一个关键字分割成多个关键字组成的组合关键字，采取</a:t>
            </a:r>
            <a:endParaRPr lang="en-US" altLang="zh-CN" dirty="0"/>
          </a:p>
          <a:p>
            <a:r>
              <a:rPr lang="zh-CN" altLang="en-US" dirty="0"/>
              <a:t>分别排序的算法</a:t>
            </a:r>
            <a:endParaRPr lang="en-US" altLang="zh-CN" dirty="0"/>
          </a:p>
          <a:p>
            <a:r>
              <a:rPr lang="en-US" altLang="zh-CN" dirty="0"/>
              <a:t>14.</a:t>
            </a:r>
            <a:r>
              <a:rPr lang="zh-CN" altLang="en-US" dirty="0"/>
              <a:t>希尔排序</a:t>
            </a:r>
            <a:r>
              <a:rPr lang="en-US" altLang="zh-CN" dirty="0"/>
              <a:t>:</a:t>
            </a:r>
            <a:r>
              <a:rPr lang="zh-CN" altLang="en-US" dirty="0"/>
              <a:t>增量最后一个值一定是</a:t>
            </a:r>
            <a:r>
              <a:rPr lang="en-US" altLang="zh-CN" dirty="0"/>
              <a:t>1</a:t>
            </a:r>
            <a:r>
              <a:rPr lang="zh-CN" altLang="en-US" dirty="0"/>
              <a:t>，增量序列中的每个值均为素数</a:t>
            </a:r>
            <a:endParaRPr lang="en-US" altLang="zh-CN" dirty="0"/>
          </a:p>
          <a:p>
            <a:r>
              <a:rPr lang="en-US" altLang="zh-CN" dirty="0"/>
              <a:t>15.</a:t>
            </a:r>
            <a:r>
              <a:rPr lang="zh-CN" altLang="en-US" dirty="0"/>
              <a:t>对</a:t>
            </a:r>
            <a:r>
              <a:rPr lang="en-US" altLang="zh-CN" dirty="0"/>
              <a:t>n</a:t>
            </a:r>
            <a:r>
              <a:rPr lang="zh-CN" altLang="en-US" dirty="0"/>
              <a:t>个关键字进行堆排序，所需要的辅助存储空间为</a:t>
            </a:r>
            <a:r>
              <a:rPr lang="en-US" altLang="zh-CN" dirty="0"/>
              <a:t>O(1)</a:t>
            </a:r>
          </a:p>
        </p:txBody>
      </p:sp>
    </p:spTree>
    <p:extLst>
      <p:ext uri="{BB962C8B-B14F-4D97-AF65-F5344CB8AC3E}">
        <p14:creationId xmlns:p14="http://schemas.microsoft.com/office/powerpoint/2010/main" val="35349274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CAF10DD4-B643-45D5-9A20-E5EE5751914E}"/>
              </a:ext>
            </a:extLst>
          </p:cNvPr>
          <p:cNvSpPr txBox="1"/>
          <p:nvPr/>
        </p:nvSpPr>
        <p:spPr>
          <a:xfrm>
            <a:off x="827584" y="908720"/>
            <a:ext cx="8225329" cy="3693319"/>
          </a:xfrm>
          <a:prstGeom prst="rect">
            <a:avLst/>
          </a:prstGeom>
          <a:noFill/>
        </p:spPr>
        <p:txBody>
          <a:bodyPr wrap="none" rtlCol="0">
            <a:spAutoFit/>
          </a:bodyPr>
          <a:lstStyle/>
          <a:p>
            <a:r>
              <a:rPr lang="zh-CN" altLang="en-US" dirty="0"/>
              <a:t>散列表</a:t>
            </a:r>
            <a:endParaRPr lang="en-US" altLang="zh-CN" dirty="0"/>
          </a:p>
          <a:p>
            <a:r>
              <a:rPr lang="en-US" altLang="zh-CN" dirty="0"/>
              <a:t>1.</a:t>
            </a:r>
            <a:r>
              <a:rPr lang="zh-CN" altLang="en-US" dirty="0"/>
              <a:t>假设有</a:t>
            </a:r>
            <a:r>
              <a:rPr lang="en-US" altLang="zh-CN" dirty="0"/>
              <a:t>n</a:t>
            </a:r>
            <a:r>
              <a:rPr lang="zh-CN" altLang="en-US" dirty="0"/>
              <a:t>个关键字，</a:t>
            </a:r>
            <a:r>
              <a:rPr lang="en-US" altLang="zh-CN" dirty="0"/>
              <a:t>Hash</a:t>
            </a:r>
            <a:r>
              <a:rPr lang="zh-CN" altLang="en-US" dirty="0"/>
              <a:t>查找法的时间复杂度为</a:t>
            </a:r>
            <a:r>
              <a:rPr lang="en-US" altLang="zh-CN" dirty="0"/>
              <a:t>O(1)</a:t>
            </a:r>
          </a:p>
          <a:p>
            <a:r>
              <a:rPr lang="en-US" altLang="zh-CN" dirty="0"/>
              <a:t>2.H</a:t>
            </a:r>
            <a:r>
              <a:rPr lang="zh-CN" altLang="en-US" dirty="0"/>
              <a:t>（</a:t>
            </a:r>
            <a:r>
              <a:rPr lang="en-US" altLang="zh-CN" dirty="0"/>
              <a:t>key</a:t>
            </a:r>
            <a:r>
              <a:rPr lang="zh-CN" altLang="en-US" dirty="0"/>
              <a:t>） </a:t>
            </a:r>
            <a:r>
              <a:rPr lang="en-US" altLang="zh-CN" dirty="0"/>
              <a:t>= key mod p</a:t>
            </a:r>
          </a:p>
          <a:p>
            <a:r>
              <a:rPr lang="en-US" altLang="zh-CN" dirty="0"/>
              <a:t>	</a:t>
            </a:r>
            <a:r>
              <a:rPr lang="zh-CN" altLang="en-US" dirty="0"/>
              <a:t>有装填因子：</a:t>
            </a:r>
            <a:r>
              <a:rPr lang="en-US" altLang="zh-CN" dirty="0"/>
              <a:t>a = n/m </a:t>
            </a:r>
            <a:r>
              <a:rPr lang="zh-CN" altLang="en-US" dirty="0"/>
              <a:t>（</a:t>
            </a:r>
            <a:r>
              <a:rPr lang="en-US" altLang="zh-CN" dirty="0"/>
              <a:t>p</a:t>
            </a:r>
            <a:r>
              <a:rPr lang="zh-CN" altLang="en-US" dirty="0"/>
              <a:t>就是不大于</a:t>
            </a:r>
            <a:r>
              <a:rPr lang="en-US" altLang="zh-CN" dirty="0"/>
              <a:t>m</a:t>
            </a:r>
            <a:r>
              <a:rPr lang="zh-CN" altLang="en-US" dirty="0"/>
              <a:t>的最大素数）</a:t>
            </a:r>
            <a:endParaRPr lang="en-US" altLang="zh-CN" dirty="0"/>
          </a:p>
          <a:p>
            <a:r>
              <a:rPr lang="en-US" altLang="zh-CN" dirty="0"/>
              <a:t>3.</a:t>
            </a:r>
            <a:r>
              <a:rPr lang="zh-CN" altLang="en-US" dirty="0"/>
              <a:t>散列表中</a:t>
            </a:r>
            <a:r>
              <a:rPr lang="en-US" altLang="zh-CN" dirty="0"/>
              <a:t>ASL-F</a:t>
            </a:r>
            <a:r>
              <a:rPr lang="zh-CN" altLang="en-US" dirty="0"/>
              <a:t>的计算只计算可以映射到的表项</a:t>
            </a:r>
            <a:endParaRPr lang="en-US" altLang="zh-CN" dirty="0"/>
          </a:p>
          <a:p>
            <a:r>
              <a:rPr lang="en-US" altLang="zh-CN" dirty="0"/>
              <a:t>4.</a:t>
            </a:r>
            <a:r>
              <a:rPr lang="zh-CN" altLang="en-US" dirty="0"/>
              <a:t>散列表优点</a:t>
            </a:r>
            <a:r>
              <a:rPr lang="en-US" altLang="zh-CN" dirty="0"/>
              <a:t>:</a:t>
            </a:r>
            <a:r>
              <a:rPr lang="zh-CN" altLang="en-US" dirty="0"/>
              <a:t>能够较快的插入删除元素</a:t>
            </a:r>
            <a:endParaRPr lang="en-US" altLang="zh-CN" dirty="0"/>
          </a:p>
          <a:p>
            <a:r>
              <a:rPr lang="en-US" altLang="zh-CN" dirty="0"/>
              <a:t>	</a:t>
            </a:r>
            <a:r>
              <a:rPr lang="zh-CN" altLang="en-US" dirty="0"/>
              <a:t>缺点：不能反映元素之间的关系</a:t>
            </a:r>
            <a:endParaRPr lang="en-US" altLang="zh-CN" dirty="0"/>
          </a:p>
          <a:p>
            <a:r>
              <a:rPr lang="en-US" altLang="zh-CN" dirty="0"/>
              <a:t>5.</a:t>
            </a:r>
            <a:r>
              <a:rPr lang="zh-CN" altLang="en-US" dirty="0"/>
              <a:t>线性探查法缺点</a:t>
            </a:r>
            <a:r>
              <a:rPr lang="en-US" altLang="zh-CN" dirty="0"/>
              <a:t>:</a:t>
            </a:r>
            <a:r>
              <a:rPr lang="zh-CN" altLang="en-US" dirty="0"/>
              <a:t>容易产生基本聚集</a:t>
            </a:r>
            <a:r>
              <a:rPr lang="en-US" altLang="zh-CN" dirty="0"/>
              <a:t>(</a:t>
            </a:r>
            <a:r>
              <a:rPr lang="zh-CN" altLang="en-US" dirty="0"/>
              <a:t>线性聚集</a:t>
            </a:r>
            <a:r>
              <a:rPr lang="en-US" altLang="zh-CN" dirty="0"/>
              <a:t>)</a:t>
            </a:r>
          </a:p>
          <a:p>
            <a:r>
              <a:rPr lang="en-US" altLang="zh-CN" dirty="0"/>
              <a:t>6.</a:t>
            </a:r>
            <a:r>
              <a:rPr lang="zh-CN" altLang="en-US" dirty="0"/>
              <a:t>解决散列表的冲突问题</a:t>
            </a:r>
            <a:r>
              <a:rPr lang="en-US" altLang="zh-CN" dirty="0"/>
              <a:t>:</a:t>
            </a:r>
            <a:r>
              <a:rPr lang="zh-CN" altLang="en-US" dirty="0"/>
              <a:t>开放地址法</a:t>
            </a:r>
            <a:r>
              <a:rPr lang="en-US" altLang="zh-CN" dirty="0"/>
              <a:t>(</a:t>
            </a:r>
            <a:r>
              <a:rPr lang="zh-CN" altLang="en-US" dirty="0"/>
              <a:t>闭散列法</a:t>
            </a:r>
            <a:r>
              <a:rPr lang="en-US" altLang="zh-CN" dirty="0"/>
              <a:t>)</a:t>
            </a:r>
            <a:r>
              <a:rPr lang="zh-CN" altLang="en-US" dirty="0"/>
              <a:t>、链地址法 </a:t>
            </a:r>
            <a:r>
              <a:rPr lang="en-US" altLang="zh-CN" dirty="0"/>
              <a:t>(</a:t>
            </a:r>
            <a:r>
              <a:rPr lang="zh-CN" altLang="en-US" dirty="0"/>
              <a:t>开散列法</a:t>
            </a:r>
            <a:r>
              <a:rPr lang="en-US" altLang="zh-CN" dirty="0"/>
              <a:t>)</a:t>
            </a:r>
          </a:p>
          <a:p>
            <a:r>
              <a:rPr lang="en-US" altLang="zh-CN" dirty="0"/>
              <a:t>7.</a:t>
            </a:r>
            <a:r>
              <a:rPr lang="zh-CN" altLang="en-US" dirty="0"/>
              <a:t>散列函数使得映射到地址上任意地址的概率相等，则称这个散列函数是优秀的</a:t>
            </a:r>
            <a:endParaRPr lang="en-US" altLang="zh-CN" dirty="0"/>
          </a:p>
          <a:p>
            <a:r>
              <a:rPr lang="en-US" altLang="zh-CN" dirty="0"/>
              <a:t>8.</a:t>
            </a:r>
            <a:r>
              <a:rPr lang="zh-CN" altLang="en-US" dirty="0"/>
              <a:t>使用二次探查法可以有效避免线性聚集</a:t>
            </a:r>
            <a:endParaRPr lang="en-US" altLang="zh-CN" dirty="0"/>
          </a:p>
          <a:p>
            <a:r>
              <a:rPr lang="en-US" altLang="zh-CN" dirty="0"/>
              <a:t>9.</a:t>
            </a:r>
            <a:r>
              <a:rPr lang="zh-CN" altLang="en-US" dirty="0"/>
              <a:t>双散列表法</a:t>
            </a:r>
            <a:r>
              <a:rPr lang="en-US" altLang="zh-CN" dirty="0"/>
              <a:t>:h1,h2,h1</a:t>
            </a:r>
            <a:r>
              <a:rPr lang="zh-CN" altLang="en-US" dirty="0"/>
              <a:t>是为了计算位置，</a:t>
            </a:r>
            <a:r>
              <a:rPr lang="en-US" altLang="zh-CN" dirty="0"/>
              <a:t>h2</a:t>
            </a:r>
            <a:r>
              <a:rPr lang="zh-CN" altLang="en-US" dirty="0"/>
              <a:t>计算增量（如果还是发生冲突则，</a:t>
            </a:r>
            <a:endParaRPr lang="en-US" altLang="zh-CN" dirty="0"/>
          </a:p>
          <a:p>
            <a:r>
              <a:rPr lang="zh-CN" altLang="en-US"/>
              <a:t>继续加）</a:t>
            </a:r>
            <a:endParaRPr lang="zh-CN" altLang="en-US" dirty="0"/>
          </a:p>
        </p:txBody>
      </p:sp>
    </p:spTree>
    <p:extLst>
      <p:ext uri="{BB962C8B-B14F-4D97-AF65-F5344CB8AC3E}">
        <p14:creationId xmlns:p14="http://schemas.microsoft.com/office/powerpoint/2010/main" val="612967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109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14="http://schemas.microsoft.com/office/powerpoint/2010/main" Requires="p14">
          <p:contentPart p14:bwMode="auto" r:id="rId2">
            <p14:nvContentPartPr>
              <p14:cNvPr id="2" name="墨迹 1">
                <a:extLst>
                  <a:ext uri="{FF2B5EF4-FFF2-40B4-BE49-F238E27FC236}">
                    <a16:creationId xmlns:a16="http://schemas.microsoft.com/office/drawing/2014/main" id="{851A7A95-553B-47ED-9387-1CA121938BD0}"/>
                  </a:ext>
                </a:extLst>
              </p14:cNvPr>
              <p14:cNvContentPartPr/>
              <p14:nvPr/>
            </p14:nvContentPartPr>
            <p14:xfrm>
              <a:off x="228240" y="1212840"/>
              <a:ext cx="6131520" cy="4220640"/>
            </p14:xfrm>
          </p:contentPart>
        </mc:Choice>
        <mc:Fallback>
          <p:pic>
            <p:nvPicPr>
              <p:cNvPr id="2" name="墨迹 1">
                <a:extLst>
                  <a:ext uri="{FF2B5EF4-FFF2-40B4-BE49-F238E27FC236}">
                    <a16:creationId xmlns:a16="http://schemas.microsoft.com/office/drawing/2014/main" id="{851A7A95-553B-47ED-9387-1CA121938BD0}"/>
                  </a:ext>
                </a:extLst>
              </p:cNvPr>
              <p:cNvPicPr/>
              <p:nvPr/>
            </p:nvPicPr>
            <p:blipFill>
              <a:blip r:embed="rId3"/>
              <a:stretch>
                <a:fillRect/>
              </a:stretch>
            </p:blipFill>
            <p:spPr>
              <a:xfrm>
                <a:off x="218880" y="1203480"/>
                <a:ext cx="6150240" cy="4239360"/>
              </a:xfrm>
              <a:prstGeom prst="rect">
                <a:avLst/>
              </a:prstGeom>
            </p:spPr>
          </p:pic>
        </mc:Fallback>
      </mc:AlternateContent>
    </p:spTree>
    <p:extLst>
      <p:ext uri="{BB962C8B-B14F-4D97-AF65-F5344CB8AC3E}">
        <p14:creationId xmlns:p14="http://schemas.microsoft.com/office/powerpoint/2010/main" val="30108119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14="http://schemas.microsoft.com/office/powerpoint/2010/main" Requires="p14">
          <p:contentPart p14:bwMode="auto" r:id="rId2">
            <p14:nvContentPartPr>
              <p14:cNvPr id="2" name="墨迹 1">
                <a:extLst>
                  <a:ext uri="{FF2B5EF4-FFF2-40B4-BE49-F238E27FC236}">
                    <a16:creationId xmlns:a16="http://schemas.microsoft.com/office/drawing/2014/main" id="{5B6819BB-2750-4FA5-BCEF-8A76D190B609}"/>
                  </a:ext>
                </a:extLst>
              </p14:cNvPr>
              <p14:cNvContentPartPr/>
              <p14:nvPr/>
            </p14:nvContentPartPr>
            <p14:xfrm>
              <a:off x="7505640" y="4540320"/>
              <a:ext cx="360" cy="360"/>
            </p14:xfrm>
          </p:contentPart>
        </mc:Choice>
        <mc:Fallback>
          <p:pic>
            <p:nvPicPr>
              <p:cNvPr id="2" name="墨迹 1">
                <a:extLst>
                  <a:ext uri="{FF2B5EF4-FFF2-40B4-BE49-F238E27FC236}">
                    <a16:creationId xmlns:a16="http://schemas.microsoft.com/office/drawing/2014/main" id="{5B6819BB-2750-4FA5-BCEF-8A76D190B609}"/>
                  </a:ext>
                </a:extLst>
              </p:cNvPr>
              <p:cNvPicPr/>
              <p:nvPr/>
            </p:nvPicPr>
            <p:blipFill/>
            <p:spPr/>
          </p:pic>
        </mc:Fallback>
      </mc:AlternateContent>
    </p:spTree>
    <p:extLst>
      <p:ext uri="{BB962C8B-B14F-4D97-AF65-F5344CB8AC3E}">
        <p14:creationId xmlns:p14="http://schemas.microsoft.com/office/powerpoint/2010/main" val="3296226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838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EC0BFC09-D9BF-4648-928F-F4FFB96B9395}"/>
              </a:ext>
            </a:extLst>
          </p:cNvPr>
          <p:cNvSpPr txBox="1"/>
          <p:nvPr/>
        </p:nvSpPr>
        <p:spPr>
          <a:xfrm>
            <a:off x="755576" y="1052736"/>
            <a:ext cx="7488832" cy="2585323"/>
          </a:xfrm>
          <a:prstGeom prst="rect">
            <a:avLst/>
          </a:prstGeom>
          <a:noFill/>
        </p:spPr>
        <p:txBody>
          <a:bodyPr wrap="square" rtlCol="0">
            <a:spAutoFit/>
          </a:bodyPr>
          <a:lstStyle/>
          <a:p>
            <a:r>
              <a:rPr lang="en-US" altLang="zh-CN" dirty="0"/>
              <a:t>12.</a:t>
            </a:r>
            <a:r>
              <a:rPr lang="zh-CN" altLang="en-US" dirty="0"/>
              <a:t>抽象数据类型</a:t>
            </a:r>
            <a:r>
              <a:rPr lang="en-US" altLang="zh-CN" dirty="0"/>
              <a:t>(ADT)</a:t>
            </a:r>
            <a:r>
              <a:rPr lang="zh-CN" altLang="en-US" dirty="0"/>
              <a:t>包括定义与实现两方面，其中定义是独立于实现的</a:t>
            </a:r>
            <a:br>
              <a:rPr lang="en-US" altLang="zh-CN" dirty="0"/>
            </a:br>
            <a:r>
              <a:rPr lang="en-US" altLang="zh-CN" dirty="0"/>
              <a:t>13.ADT</a:t>
            </a:r>
            <a:r>
              <a:rPr lang="zh-CN" altLang="en-US" dirty="0"/>
              <a:t>与计算机内部表示和实现是</a:t>
            </a:r>
            <a:r>
              <a:rPr lang="zh-CN" altLang="en-US" dirty="0">
                <a:solidFill>
                  <a:srgbClr val="FF0000"/>
                </a:solidFill>
              </a:rPr>
              <a:t>无关</a:t>
            </a:r>
            <a:r>
              <a:rPr lang="zh-CN" altLang="en-US" dirty="0"/>
              <a:t>的</a:t>
            </a:r>
            <a:endParaRPr lang="en-US" altLang="zh-CN" dirty="0"/>
          </a:p>
          <a:p>
            <a:r>
              <a:rPr lang="en-US" altLang="zh-CN" dirty="0"/>
              <a:t>14.</a:t>
            </a:r>
            <a:r>
              <a:rPr lang="zh-CN" altLang="en-US" dirty="0"/>
              <a:t>数据结构包含的三方面内容</a:t>
            </a:r>
            <a:r>
              <a:rPr lang="en-US" altLang="zh-CN" dirty="0"/>
              <a:t>:</a:t>
            </a:r>
          </a:p>
          <a:p>
            <a:r>
              <a:rPr lang="en-US" altLang="zh-CN" dirty="0"/>
              <a:t>	a.</a:t>
            </a:r>
            <a:r>
              <a:rPr lang="zh-CN" altLang="en-US" dirty="0"/>
              <a:t> 逻辑结构</a:t>
            </a:r>
            <a:endParaRPr lang="en-US" altLang="zh-CN" dirty="0"/>
          </a:p>
          <a:p>
            <a:r>
              <a:rPr lang="en-US" altLang="zh-CN" dirty="0"/>
              <a:t>	b.</a:t>
            </a:r>
            <a:r>
              <a:rPr lang="zh-CN" altLang="en-US" dirty="0"/>
              <a:t> 存储结构</a:t>
            </a:r>
            <a:endParaRPr lang="en-US" altLang="zh-CN" dirty="0"/>
          </a:p>
          <a:p>
            <a:r>
              <a:rPr lang="en-US" altLang="zh-CN" dirty="0"/>
              <a:t>	c.</a:t>
            </a:r>
            <a:r>
              <a:rPr lang="zh-CN" altLang="en-US" dirty="0"/>
              <a:t>数据运算</a:t>
            </a:r>
            <a:endParaRPr lang="en-US" altLang="zh-CN" dirty="0"/>
          </a:p>
          <a:p>
            <a:r>
              <a:rPr lang="en-US" altLang="zh-CN" dirty="0"/>
              <a:t>15.</a:t>
            </a:r>
            <a:r>
              <a:rPr lang="zh-CN" altLang="en-US" dirty="0"/>
              <a:t>递归计算法必须包含</a:t>
            </a:r>
            <a:r>
              <a:rPr lang="en-US" altLang="zh-CN" dirty="0"/>
              <a:t>:</a:t>
            </a:r>
            <a:r>
              <a:rPr lang="zh-CN" altLang="en-US" dirty="0"/>
              <a:t>终止条件和递归部分</a:t>
            </a:r>
            <a:endParaRPr lang="en-US" altLang="zh-CN" dirty="0"/>
          </a:p>
          <a:p>
            <a:endParaRPr lang="zh-CN" alt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2997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5115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4508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2812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57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BB72170-D3E4-411F-AD6F-A4FEAAC65200}"/>
              </a:ext>
            </a:extLst>
          </p:cNvPr>
          <p:cNvSpPr txBox="1"/>
          <p:nvPr/>
        </p:nvSpPr>
        <p:spPr>
          <a:xfrm>
            <a:off x="179512" y="908720"/>
            <a:ext cx="8280920" cy="5355312"/>
          </a:xfrm>
          <a:prstGeom prst="rect">
            <a:avLst/>
          </a:prstGeom>
          <a:noFill/>
        </p:spPr>
        <p:txBody>
          <a:bodyPr wrap="square" rtlCol="0">
            <a:spAutoFit/>
          </a:bodyPr>
          <a:lstStyle/>
          <a:p>
            <a:r>
              <a:rPr lang="zh-CN" altLang="en-US" dirty="0"/>
              <a:t>线性表</a:t>
            </a:r>
            <a:endParaRPr lang="en-US" altLang="zh-CN" dirty="0"/>
          </a:p>
          <a:p>
            <a:r>
              <a:rPr lang="en-US" altLang="zh-CN" dirty="0"/>
              <a:t>1.</a:t>
            </a:r>
            <a:r>
              <a:rPr lang="zh-CN" altLang="en-US" dirty="0"/>
              <a:t>有序表是指逻辑结构，循环队列是存储结构，栈是逻辑结构</a:t>
            </a:r>
            <a:endParaRPr lang="en-US" altLang="zh-CN" dirty="0"/>
          </a:p>
          <a:p>
            <a:r>
              <a:rPr lang="en-US" altLang="zh-CN" dirty="0"/>
              <a:t>2.</a:t>
            </a:r>
            <a:r>
              <a:rPr lang="zh-CN" altLang="en-US" dirty="0"/>
              <a:t>链式存储中，各不同节点的存储空间可以不连续，但是节点内的存储单元必须连续</a:t>
            </a:r>
            <a:endParaRPr lang="en-US" altLang="zh-CN" dirty="0"/>
          </a:p>
          <a:p>
            <a:r>
              <a:rPr lang="en-US" altLang="zh-CN" dirty="0"/>
              <a:t>3. </a:t>
            </a:r>
            <a:r>
              <a:rPr lang="zh-CN" altLang="en-US" dirty="0"/>
              <a:t>在一个长度为</a:t>
            </a:r>
            <a:r>
              <a:rPr lang="en-US" altLang="zh-CN" dirty="0"/>
              <a:t>n</a:t>
            </a:r>
            <a:r>
              <a:rPr lang="zh-CN" altLang="en-US" dirty="0"/>
              <a:t>的顺序表中删除第</a:t>
            </a:r>
            <a:r>
              <a:rPr lang="en-US" altLang="zh-CN" dirty="0" err="1"/>
              <a:t>i</a:t>
            </a:r>
            <a:r>
              <a:rPr lang="zh-CN" altLang="en-US" dirty="0"/>
              <a:t>个元素，则需要向前移动多少元素？</a:t>
            </a:r>
            <a:endParaRPr lang="en-US" altLang="zh-CN" dirty="0"/>
          </a:p>
          <a:p>
            <a:r>
              <a:rPr lang="en-US" altLang="zh-CN" dirty="0"/>
              <a:t>4.</a:t>
            </a:r>
            <a:r>
              <a:rPr lang="zh-CN" altLang="en-US" dirty="0"/>
              <a:t>栈与队列都是线性逻辑结构，仅是操作不同</a:t>
            </a:r>
            <a:endParaRPr lang="en-US" altLang="zh-CN" dirty="0"/>
          </a:p>
          <a:p>
            <a:r>
              <a:rPr lang="en-US" altLang="zh-CN" dirty="0"/>
              <a:t>5.</a:t>
            </a:r>
            <a:r>
              <a:rPr lang="zh-CN" altLang="en-US" dirty="0"/>
              <a:t>队列长度的求解</a:t>
            </a:r>
            <a:r>
              <a:rPr lang="en-US" altLang="zh-CN" dirty="0"/>
              <a:t>(</a:t>
            </a:r>
            <a:r>
              <a:rPr lang="zh-CN" altLang="en-US" dirty="0"/>
              <a:t>循环队列</a:t>
            </a:r>
            <a:r>
              <a:rPr lang="en-US" altLang="zh-CN" dirty="0"/>
              <a:t>) = (</a:t>
            </a:r>
            <a:r>
              <a:rPr lang="en-US" altLang="zh-CN" dirty="0" err="1"/>
              <a:t>rear-front+maxsize</a:t>
            </a:r>
            <a:r>
              <a:rPr lang="en-US" altLang="zh-CN" dirty="0"/>
              <a:t>)% </a:t>
            </a:r>
            <a:r>
              <a:rPr lang="en-US" altLang="zh-CN" dirty="0" err="1"/>
              <a:t>maxsize</a:t>
            </a:r>
            <a:endParaRPr lang="en-US" altLang="zh-CN" dirty="0"/>
          </a:p>
          <a:p>
            <a:r>
              <a:rPr lang="en-US" altLang="zh-CN" dirty="0"/>
              <a:t>6.</a:t>
            </a:r>
            <a:r>
              <a:rPr lang="zh-CN" altLang="en-US" dirty="0"/>
              <a:t>用链式存储方式存储的队列进行删除操作时需要头尾指针可能都要修改</a:t>
            </a:r>
            <a:endParaRPr lang="en-US" altLang="zh-CN" dirty="0"/>
          </a:p>
          <a:p>
            <a:r>
              <a:rPr lang="en-US" altLang="zh-CN" dirty="0"/>
              <a:t>7.</a:t>
            </a:r>
            <a:r>
              <a:rPr lang="zh-CN" altLang="en-US" dirty="0"/>
              <a:t>缓冲区是队列的应用，缓存加载也是</a:t>
            </a:r>
            <a:endParaRPr lang="en-US" altLang="zh-CN" dirty="0"/>
          </a:p>
          <a:p>
            <a:r>
              <a:rPr lang="en-US" altLang="zh-CN" dirty="0"/>
              <a:t>8.</a:t>
            </a:r>
            <a:r>
              <a:rPr lang="zh-CN" altLang="en-US" dirty="0"/>
              <a:t>长度为</a:t>
            </a:r>
            <a:r>
              <a:rPr lang="en-US" altLang="zh-CN" dirty="0"/>
              <a:t>n</a:t>
            </a:r>
            <a:r>
              <a:rPr lang="zh-CN" altLang="en-US" dirty="0"/>
              <a:t>的</a:t>
            </a:r>
            <a:r>
              <a:rPr lang="en-US" altLang="zh-CN" dirty="0"/>
              <a:t>(</a:t>
            </a:r>
            <a:r>
              <a:rPr lang="zh-CN" altLang="en-US" dirty="0"/>
              <a:t>顺序表</a:t>
            </a:r>
            <a:r>
              <a:rPr lang="en-US" altLang="zh-CN" dirty="0"/>
              <a:t>)</a:t>
            </a:r>
            <a:r>
              <a:rPr lang="zh-CN" altLang="en-US" dirty="0"/>
              <a:t>单链表，有序</a:t>
            </a:r>
            <a:r>
              <a:rPr lang="en-US" altLang="zh-CN" dirty="0"/>
              <a:t>(</a:t>
            </a:r>
            <a:r>
              <a:rPr lang="zh-CN" altLang="en-US" dirty="0"/>
              <a:t>无序</a:t>
            </a:r>
            <a:r>
              <a:rPr lang="en-US" altLang="zh-CN" dirty="0"/>
              <a:t>)</a:t>
            </a:r>
            <a:r>
              <a:rPr lang="zh-CN" altLang="en-US" dirty="0"/>
              <a:t>查找成功的平均查找长度为</a:t>
            </a:r>
            <a:r>
              <a:rPr lang="en-US" altLang="zh-CN" dirty="0"/>
              <a:t>(1+n)n/2n = (1+n)/2</a:t>
            </a:r>
          </a:p>
          <a:p>
            <a:r>
              <a:rPr lang="en-US" altLang="zh-CN" dirty="0"/>
              <a:t>9.</a:t>
            </a:r>
            <a:r>
              <a:rPr lang="zh-CN" altLang="en-US" dirty="0"/>
              <a:t>折半查找与顺序查找在有序表中不可进行速度比较</a:t>
            </a:r>
            <a:endParaRPr lang="en-US" altLang="zh-CN" dirty="0"/>
          </a:p>
          <a:p>
            <a:r>
              <a:rPr lang="en-US" altLang="zh-CN" dirty="0"/>
              <a:t>10.</a:t>
            </a:r>
            <a:r>
              <a:rPr lang="zh-CN" altLang="en-US" dirty="0"/>
              <a:t>各含</a:t>
            </a:r>
            <a:r>
              <a:rPr lang="en-US" altLang="zh-CN" dirty="0"/>
              <a:t>m</a:t>
            </a:r>
            <a:r>
              <a:rPr lang="zh-CN" altLang="en-US" dirty="0"/>
              <a:t>和</a:t>
            </a:r>
            <a:r>
              <a:rPr lang="en-US" altLang="zh-CN" dirty="0"/>
              <a:t>n</a:t>
            </a:r>
            <a:r>
              <a:rPr lang="zh-CN" altLang="en-US" dirty="0"/>
              <a:t>个关键字的有序表合并为一个有序表，最少比较次数为</a:t>
            </a:r>
            <a:r>
              <a:rPr lang="en-US" altLang="zh-CN" dirty="0"/>
              <a:t>min{</a:t>
            </a:r>
            <a:r>
              <a:rPr lang="en-US" altLang="zh-CN" dirty="0" err="1"/>
              <a:t>m,n</a:t>
            </a:r>
            <a:r>
              <a:rPr lang="en-US" altLang="zh-CN" dirty="0"/>
              <a:t>}</a:t>
            </a:r>
            <a:r>
              <a:rPr lang="zh-CN" altLang="en-US" dirty="0"/>
              <a:t>，最多比较次数为</a:t>
            </a:r>
            <a:r>
              <a:rPr lang="en-US" altLang="zh-CN" dirty="0"/>
              <a:t>m+n-1</a:t>
            </a:r>
          </a:p>
          <a:p>
            <a:r>
              <a:rPr lang="en-US" altLang="zh-CN" dirty="0"/>
              <a:t>11.</a:t>
            </a:r>
            <a:r>
              <a:rPr lang="zh-CN" altLang="en-US" dirty="0"/>
              <a:t>同变不同不变，改进后的</a:t>
            </a:r>
            <a:r>
              <a:rPr lang="en-US" altLang="zh-CN" dirty="0"/>
              <a:t>next</a:t>
            </a:r>
            <a:r>
              <a:rPr lang="zh-CN" altLang="en-US" dirty="0"/>
              <a:t>数组求解方法</a:t>
            </a:r>
            <a:endParaRPr lang="en-US" altLang="zh-CN" dirty="0"/>
          </a:p>
          <a:p>
            <a:r>
              <a:rPr lang="en-US" altLang="zh-CN" dirty="0"/>
              <a:t>12.</a:t>
            </a:r>
            <a:r>
              <a:rPr lang="zh-CN" altLang="en-US" dirty="0"/>
              <a:t>二维数组是其数据元素为线性表的线性表</a:t>
            </a:r>
            <a:endParaRPr lang="en-US" altLang="zh-CN" dirty="0"/>
          </a:p>
          <a:p>
            <a:r>
              <a:rPr lang="en-US" altLang="zh-CN" dirty="0"/>
              <a:t>13.log2n&lt;n^(1/2)&lt;n&lt;nlog2n&lt;n^2+log2n&lt;7n^4+n&lt;2^n&lt;n!</a:t>
            </a:r>
          </a:p>
          <a:p>
            <a:r>
              <a:rPr lang="en-US" altLang="zh-CN" dirty="0"/>
              <a:t>14.</a:t>
            </a:r>
            <a:r>
              <a:rPr lang="zh-CN" altLang="en-US" dirty="0"/>
              <a:t>队列的链式方式存储最好的方法</a:t>
            </a:r>
            <a:r>
              <a:rPr lang="en-US" altLang="zh-CN" dirty="0"/>
              <a:t>:</a:t>
            </a:r>
            <a:r>
              <a:rPr lang="zh-CN" altLang="en-US" dirty="0"/>
              <a:t>只设尾指针无头节点的单循环链表</a:t>
            </a:r>
            <a:endParaRPr lang="en-US" altLang="zh-CN" dirty="0"/>
          </a:p>
          <a:p>
            <a:r>
              <a:rPr lang="en-US" altLang="zh-CN" dirty="0"/>
              <a:t>15.</a:t>
            </a:r>
            <a:r>
              <a:rPr lang="zh-CN" altLang="en-US" dirty="0"/>
              <a:t>普通的稀疏矩阵进行压缩存储后，将失去随机存取的特性</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D468E1ED-7C51-4A4F-B0C6-6054C4F1B55E}"/>
              </a:ext>
            </a:extLst>
          </p:cNvPr>
          <p:cNvSpPr txBox="1"/>
          <p:nvPr/>
        </p:nvSpPr>
        <p:spPr>
          <a:xfrm flipH="1">
            <a:off x="801295" y="1268760"/>
            <a:ext cx="6939057" cy="4801314"/>
          </a:xfrm>
          <a:prstGeom prst="rect">
            <a:avLst/>
          </a:prstGeom>
          <a:noFill/>
        </p:spPr>
        <p:txBody>
          <a:bodyPr wrap="square" rtlCol="0">
            <a:spAutoFit/>
          </a:bodyPr>
          <a:lstStyle/>
          <a:p>
            <a:r>
              <a:rPr lang="zh-CN" altLang="en-US" dirty="0"/>
              <a:t>树</a:t>
            </a:r>
            <a:endParaRPr lang="en-US" altLang="zh-CN" dirty="0"/>
          </a:p>
          <a:p>
            <a:r>
              <a:rPr lang="en-US" altLang="zh-CN" dirty="0"/>
              <a:t>1.</a:t>
            </a:r>
            <a:r>
              <a:rPr lang="zh-CN" altLang="en-US" dirty="0"/>
              <a:t>平衡二叉树的至少节点的计算</a:t>
            </a:r>
            <a:r>
              <a:rPr lang="en-US" altLang="zh-CN" dirty="0"/>
              <a:t>:</a:t>
            </a:r>
          </a:p>
          <a:p>
            <a:r>
              <a:rPr lang="en-US" altLang="zh-CN" dirty="0"/>
              <a:t>N0 = 0,N1 = 1,N2 = 2,Nn = N(n-1) + N(n-2) + 1</a:t>
            </a:r>
          </a:p>
          <a:p>
            <a:r>
              <a:rPr lang="en-US" altLang="zh-CN" dirty="0"/>
              <a:t>2.B-</a:t>
            </a:r>
            <a:r>
              <a:rPr lang="zh-CN" altLang="en-US" dirty="0"/>
              <a:t>树的操作总结</a:t>
            </a:r>
            <a:r>
              <a:rPr lang="en-US" altLang="zh-CN" dirty="0"/>
              <a:t>:</a:t>
            </a:r>
          </a:p>
          <a:p>
            <a:r>
              <a:rPr lang="zh-CN" altLang="en-US" dirty="0"/>
              <a:t>插入</a:t>
            </a:r>
            <a:r>
              <a:rPr lang="en-US" altLang="zh-CN" dirty="0"/>
              <a:t>:</a:t>
            </a:r>
            <a:r>
              <a:rPr lang="zh-CN" altLang="en-US" dirty="0"/>
              <a:t>满则上移</a:t>
            </a:r>
            <a:r>
              <a:rPr lang="en-US" altLang="zh-CN" dirty="0"/>
              <a:t>[m/2</a:t>
            </a:r>
            <a:r>
              <a:rPr lang="zh-CN" altLang="en-US" dirty="0"/>
              <a:t>上取</a:t>
            </a:r>
            <a:r>
              <a:rPr lang="en-US" altLang="zh-CN" dirty="0"/>
              <a:t>]</a:t>
            </a:r>
          </a:p>
          <a:p>
            <a:r>
              <a:rPr lang="zh-CN" altLang="en-US" dirty="0"/>
              <a:t>删除</a:t>
            </a:r>
            <a:r>
              <a:rPr lang="en-US" altLang="zh-CN" dirty="0"/>
              <a:t>:</a:t>
            </a:r>
          </a:p>
          <a:p>
            <a:r>
              <a:rPr lang="en-US" altLang="zh-CN" dirty="0"/>
              <a:t>	a.</a:t>
            </a:r>
            <a:r>
              <a:rPr lang="zh-CN" altLang="en-US" dirty="0"/>
              <a:t>关键字个数大于</a:t>
            </a:r>
            <a:r>
              <a:rPr lang="en-US" altLang="zh-CN" dirty="0"/>
              <a:t>m/2-1</a:t>
            </a:r>
            <a:r>
              <a:rPr lang="zh-CN" altLang="en-US" dirty="0"/>
              <a:t>，可直接删除</a:t>
            </a:r>
            <a:endParaRPr lang="en-US" altLang="zh-CN" dirty="0"/>
          </a:p>
          <a:p>
            <a:r>
              <a:rPr lang="en-US" altLang="zh-CN" dirty="0"/>
              <a:t>	b.</a:t>
            </a:r>
            <a:r>
              <a:rPr lang="zh-CN" altLang="en-US" dirty="0"/>
              <a:t>关键字个数等于</a:t>
            </a:r>
            <a:r>
              <a:rPr lang="en-US" altLang="zh-CN" dirty="0"/>
              <a:t>m/2-1,</a:t>
            </a:r>
            <a:r>
              <a:rPr lang="zh-CN" altLang="en-US" dirty="0"/>
              <a:t>且兄弟节点中存在关键字个数大于</a:t>
            </a:r>
            <a:r>
              <a:rPr lang="en-US" altLang="zh-CN" dirty="0"/>
              <a:t>m/2-1</a:t>
            </a:r>
            <a:r>
              <a:rPr lang="zh-CN" altLang="en-US" dirty="0"/>
              <a:t>的节点，则从兄弟中借</a:t>
            </a:r>
            <a:endParaRPr lang="en-US" altLang="zh-CN" dirty="0"/>
          </a:p>
          <a:p>
            <a:r>
              <a:rPr lang="en-US" altLang="zh-CN" dirty="0"/>
              <a:t>	c.</a:t>
            </a:r>
            <a:r>
              <a:rPr lang="zh-CN" altLang="en-US" dirty="0"/>
              <a:t>若关键字个数等于</a:t>
            </a:r>
            <a:r>
              <a:rPr lang="en-US" altLang="zh-CN" dirty="0"/>
              <a:t>m/2-1</a:t>
            </a:r>
            <a:r>
              <a:rPr lang="zh-CN" altLang="en-US" dirty="0"/>
              <a:t>，且兄弟节点中不存在关键字个数大于</a:t>
            </a:r>
            <a:r>
              <a:rPr lang="en-US" altLang="zh-CN" dirty="0"/>
              <a:t>m/2-1</a:t>
            </a:r>
            <a:r>
              <a:rPr lang="zh-CN" altLang="en-US" dirty="0"/>
              <a:t>的节点，则需要进行合并</a:t>
            </a:r>
            <a:endParaRPr lang="en-US" altLang="zh-CN" dirty="0"/>
          </a:p>
          <a:p>
            <a:r>
              <a:rPr lang="en-US" altLang="zh-CN" dirty="0"/>
              <a:t>3.</a:t>
            </a:r>
            <a:r>
              <a:rPr lang="zh-CN" altLang="en-US" dirty="0"/>
              <a:t>一颗有</a:t>
            </a:r>
            <a:r>
              <a:rPr lang="en-US" altLang="zh-CN" dirty="0"/>
              <a:t>124</a:t>
            </a:r>
            <a:r>
              <a:rPr lang="zh-CN" altLang="en-US" dirty="0"/>
              <a:t>个叶子节点的完全二叉树，最多有多少个节点</a:t>
            </a:r>
            <a:endParaRPr lang="en-US" altLang="zh-CN" dirty="0"/>
          </a:p>
          <a:p>
            <a:r>
              <a:rPr lang="en-US" altLang="zh-CN" dirty="0"/>
              <a:t>4.</a:t>
            </a:r>
            <a:r>
              <a:rPr lang="zh-CN" altLang="en-US" dirty="0">
                <a:solidFill>
                  <a:srgbClr val="FF0000"/>
                </a:solidFill>
              </a:rPr>
              <a:t>树</a:t>
            </a:r>
            <a:r>
              <a:rPr lang="zh-CN" altLang="en-US" dirty="0"/>
              <a:t>的路径长度是指从树根到</a:t>
            </a:r>
            <a:r>
              <a:rPr lang="zh-CN" altLang="en-US" dirty="0">
                <a:solidFill>
                  <a:srgbClr val="FF0000"/>
                </a:solidFill>
              </a:rPr>
              <a:t>每一个</a:t>
            </a:r>
            <a:r>
              <a:rPr lang="zh-CN" altLang="en-US" dirty="0"/>
              <a:t>节点的路径长度总和</a:t>
            </a:r>
            <a:endParaRPr lang="en-US" altLang="zh-CN" dirty="0"/>
          </a:p>
          <a:p>
            <a:r>
              <a:rPr lang="en-US" altLang="zh-CN" dirty="0"/>
              <a:t>5.</a:t>
            </a:r>
            <a:r>
              <a:rPr lang="zh-CN" altLang="en-US" dirty="0"/>
              <a:t>假定一颗度为</a:t>
            </a:r>
            <a:r>
              <a:rPr lang="en-US" altLang="zh-CN" dirty="0"/>
              <a:t>m</a:t>
            </a:r>
            <a:r>
              <a:rPr lang="zh-CN" altLang="en-US" dirty="0"/>
              <a:t>的树中节点数为</a:t>
            </a:r>
            <a:r>
              <a:rPr lang="en-US" altLang="zh-CN" dirty="0"/>
              <a:t>n</a:t>
            </a:r>
            <a:r>
              <a:rPr lang="zh-CN" altLang="en-US" dirty="0"/>
              <a:t>，最小高度为</a:t>
            </a:r>
            <a:r>
              <a:rPr lang="en-US" altLang="zh-CN" dirty="0"/>
              <a:t>log m-&gt;(n(m-1)+1)</a:t>
            </a:r>
            <a:r>
              <a:rPr lang="zh-CN" altLang="en-US" dirty="0"/>
              <a:t>上取</a:t>
            </a:r>
            <a:endParaRPr lang="en-US" altLang="zh-CN" dirty="0"/>
          </a:p>
          <a:p>
            <a:r>
              <a:rPr lang="en-US" altLang="zh-CN" dirty="0"/>
              <a:t>6.</a:t>
            </a:r>
            <a:r>
              <a:rPr lang="zh-CN" altLang="en-US" dirty="0"/>
              <a:t>线索二叉树中</a:t>
            </a:r>
            <a:r>
              <a:rPr lang="en-US" altLang="zh-CN" dirty="0"/>
              <a:t>Tag == 1</a:t>
            </a:r>
            <a:r>
              <a:rPr lang="zh-CN" altLang="en-US" dirty="0"/>
              <a:t>的时候为线索，</a:t>
            </a:r>
            <a:r>
              <a:rPr lang="en-US" altLang="zh-CN" dirty="0"/>
              <a:t>0</a:t>
            </a:r>
            <a:r>
              <a:rPr lang="zh-CN" altLang="en-US" dirty="0"/>
              <a:t>的时候为左右孩子</a:t>
            </a:r>
            <a:endParaRPr lang="en-US" altLang="zh-CN" dirty="0"/>
          </a:p>
          <a:p>
            <a:r>
              <a:rPr lang="en-US" altLang="zh-CN" dirty="0"/>
              <a:t>7.</a:t>
            </a:r>
            <a:r>
              <a:rPr lang="zh-CN" altLang="en-US" dirty="0"/>
              <a:t>二叉树线索化后，不能有效解决后续后继问题</a:t>
            </a:r>
            <a:endParaRPr lang="en-US" altLang="zh-CN"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DDACC9E-4D78-4182-9376-0D0222990F26}"/>
              </a:ext>
            </a:extLst>
          </p:cNvPr>
          <p:cNvSpPr txBox="1"/>
          <p:nvPr/>
        </p:nvSpPr>
        <p:spPr>
          <a:xfrm>
            <a:off x="755576" y="1340768"/>
            <a:ext cx="8238153" cy="1754326"/>
          </a:xfrm>
          <a:prstGeom prst="rect">
            <a:avLst/>
          </a:prstGeom>
          <a:noFill/>
        </p:spPr>
        <p:txBody>
          <a:bodyPr wrap="none" rtlCol="0">
            <a:spAutoFit/>
          </a:bodyPr>
          <a:lstStyle/>
          <a:p>
            <a:r>
              <a:rPr lang="en-US" altLang="zh-CN" dirty="0"/>
              <a:t>8.</a:t>
            </a:r>
            <a:r>
              <a:rPr lang="zh-CN" altLang="en-US" dirty="0"/>
              <a:t>若</a:t>
            </a:r>
            <a:r>
              <a:rPr lang="en-US" altLang="zh-CN" dirty="0"/>
              <a:t>x</a:t>
            </a:r>
            <a:r>
              <a:rPr lang="zh-CN" altLang="en-US" dirty="0"/>
              <a:t>是二叉树中序线索树中的一个有左孩子的节点，且</a:t>
            </a:r>
            <a:r>
              <a:rPr lang="en-US" altLang="zh-CN" dirty="0"/>
              <a:t>x</a:t>
            </a:r>
            <a:r>
              <a:rPr lang="zh-CN" altLang="en-US" dirty="0"/>
              <a:t>不为根，则</a:t>
            </a:r>
            <a:r>
              <a:rPr lang="en-US" altLang="zh-CN" dirty="0"/>
              <a:t>x</a:t>
            </a:r>
            <a:r>
              <a:rPr lang="zh-CN" altLang="en-US" dirty="0"/>
              <a:t>的前驱为</a:t>
            </a:r>
            <a:r>
              <a:rPr lang="en-US" altLang="zh-CN" dirty="0"/>
              <a:t>?</a:t>
            </a:r>
          </a:p>
          <a:p>
            <a:r>
              <a:rPr lang="en-US" altLang="zh-CN" dirty="0"/>
              <a:t>	[</a:t>
            </a:r>
            <a:r>
              <a:rPr lang="en-US" altLang="zh-CN" dirty="0" err="1"/>
              <a:t>a.x</a:t>
            </a:r>
            <a:r>
              <a:rPr lang="zh-CN" altLang="en-US" dirty="0"/>
              <a:t>的双亲 </a:t>
            </a:r>
            <a:r>
              <a:rPr lang="en-US" altLang="zh-CN" dirty="0" err="1"/>
              <a:t>b.x</a:t>
            </a:r>
            <a:r>
              <a:rPr lang="zh-CN" altLang="en-US" dirty="0"/>
              <a:t>的右子树中最左节点 </a:t>
            </a:r>
            <a:endParaRPr lang="en-US" altLang="zh-CN" dirty="0"/>
          </a:p>
          <a:p>
            <a:r>
              <a:rPr lang="en-US" altLang="zh-CN" dirty="0"/>
              <a:t>	</a:t>
            </a:r>
            <a:r>
              <a:rPr lang="en-US" altLang="zh-CN" dirty="0" err="1"/>
              <a:t>c.x</a:t>
            </a:r>
            <a:r>
              <a:rPr lang="zh-CN" altLang="en-US" dirty="0"/>
              <a:t>的左子树中的最右的节点 </a:t>
            </a:r>
            <a:r>
              <a:rPr lang="en-US" altLang="zh-CN" dirty="0" err="1"/>
              <a:t>d.x</a:t>
            </a:r>
            <a:r>
              <a:rPr lang="zh-CN" altLang="en-US" dirty="0"/>
              <a:t>的左子树的最右叶子节点</a:t>
            </a:r>
            <a:r>
              <a:rPr lang="en-US" altLang="zh-CN" dirty="0"/>
              <a:t>]</a:t>
            </a:r>
          </a:p>
          <a:p>
            <a:r>
              <a:rPr lang="en-US" altLang="zh-CN" dirty="0"/>
              <a:t>9.</a:t>
            </a:r>
            <a:r>
              <a:rPr lang="zh-CN" altLang="en-US" dirty="0"/>
              <a:t>如果具有</a:t>
            </a:r>
            <a:r>
              <a:rPr lang="en-US" altLang="zh-CN" dirty="0"/>
              <a:t>n</a:t>
            </a:r>
            <a:r>
              <a:rPr lang="zh-CN" altLang="en-US" dirty="0"/>
              <a:t>个顶点的图示一个环，则它有</a:t>
            </a:r>
            <a:r>
              <a:rPr lang="en-US" altLang="zh-CN" dirty="0"/>
              <a:t>()</a:t>
            </a:r>
            <a:r>
              <a:rPr lang="zh-CN" altLang="en-US" dirty="0"/>
              <a:t>颗生成树</a:t>
            </a:r>
            <a:endParaRPr lang="en-US" altLang="zh-CN" dirty="0"/>
          </a:p>
          <a:p>
            <a:r>
              <a:rPr lang="en-US" altLang="zh-CN" dirty="0"/>
              <a:t>10.</a:t>
            </a:r>
          </a:p>
          <a:p>
            <a:endParaRPr lang="zh-CN" altLang="en-US" dirty="0"/>
          </a:p>
        </p:txBody>
      </p:sp>
      <mc:AlternateContent xmlns:mc="http://schemas.openxmlformats.org/markup-compatibility/2006" xmlns:p14="http://schemas.microsoft.com/office/powerpoint/2010/main">
        <mc:Choice Requires="p14">
          <p:contentPart p14:bwMode="auto" r:id="rId2">
            <p14:nvContentPartPr>
              <p14:cNvPr id="3" name="墨迹 2">
                <a:extLst>
                  <a:ext uri="{FF2B5EF4-FFF2-40B4-BE49-F238E27FC236}">
                    <a16:creationId xmlns:a16="http://schemas.microsoft.com/office/drawing/2014/main" id="{32716C6C-E5F7-4029-84EF-BAB5657AE83B}"/>
                  </a:ext>
                </a:extLst>
              </p14:cNvPr>
              <p14:cNvContentPartPr/>
              <p14:nvPr/>
            </p14:nvContentPartPr>
            <p14:xfrm>
              <a:off x="1243440" y="2592000"/>
              <a:ext cx="6896520" cy="3533040"/>
            </p14:xfrm>
          </p:contentPart>
        </mc:Choice>
        <mc:Fallback xmlns="">
          <p:pic>
            <p:nvPicPr>
              <p:cNvPr id="3" name="墨迹 2">
                <a:extLst>
                  <a:ext uri="{FF2B5EF4-FFF2-40B4-BE49-F238E27FC236}">
                    <a16:creationId xmlns:a16="http://schemas.microsoft.com/office/drawing/2014/main" id="{32716C6C-E5F7-4029-84EF-BAB5657AE83B}"/>
                  </a:ext>
                </a:extLst>
              </p:cNvPr>
              <p:cNvPicPr/>
              <p:nvPr/>
            </p:nvPicPr>
            <p:blipFill>
              <a:blip r:embed="rId3"/>
              <a:stretch>
                <a:fillRect/>
              </a:stretch>
            </p:blipFill>
            <p:spPr>
              <a:xfrm>
                <a:off x="1234080" y="2582640"/>
                <a:ext cx="6915240" cy="3551760"/>
              </a:xfrm>
              <a:prstGeom prst="rect">
                <a:avLst/>
              </a:prstGeom>
            </p:spPr>
          </p:pic>
        </mc:Fallback>
      </mc:AlternateContent>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EB67C631-85DB-439D-B399-F5301E756DBC}"/>
              </a:ext>
            </a:extLst>
          </p:cNvPr>
          <p:cNvSpPr txBox="1"/>
          <p:nvPr/>
        </p:nvSpPr>
        <p:spPr>
          <a:xfrm>
            <a:off x="971600" y="1268760"/>
            <a:ext cx="7686720" cy="4524315"/>
          </a:xfrm>
          <a:prstGeom prst="rect">
            <a:avLst/>
          </a:prstGeom>
          <a:noFill/>
        </p:spPr>
        <p:txBody>
          <a:bodyPr wrap="none" rtlCol="0">
            <a:spAutoFit/>
          </a:bodyPr>
          <a:lstStyle/>
          <a:p>
            <a:r>
              <a:rPr lang="en-US" altLang="zh-CN" dirty="0"/>
              <a:t>11.</a:t>
            </a:r>
            <a:r>
              <a:rPr lang="zh-CN" altLang="en-US" dirty="0"/>
              <a:t>度为</a:t>
            </a:r>
            <a:r>
              <a:rPr lang="en-US" altLang="zh-CN" dirty="0"/>
              <a:t>m</a:t>
            </a:r>
            <a:r>
              <a:rPr lang="zh-CN" altLang="en-US" dirty="0"/>
              <a:t>的哈夫曼树中，叶子节点个数为</a:t>
            </a:r>
            <a:r>
              <a:rPr lang="en-US" altLang="zh-CN" dirty="0"/>
              <a:t>n</a:t>
            </a:r>
            <a:r>
              <a:rPr lang="zh-CN" altLang="en-US" dirty="0"/>
              <a:t>，</a:t>
            </a:r>
            <a:endParaRPr lang="en-US" altLang="zh-CN" dirty="0"/>
          </a:p>
          <a:p>
            <a:r>
              <a:rPr lang="en-US" altLang="zh-CN" dirty="0"/>
              <a:t>	</a:t>
            </a:r>
            <a:r>
              <a:rPr lang="zh-CN" altLang="en-US" dirty="0"/>
              <a:t>则非叶子节点个数为</a:t>
            </a:r>
            <a:r>
              <a:rPr lang="en-US" altLang="zh-CN" dirty="0"/>
              <a:t>(n-1)/(m-1)</a:t>
            </a:r>
            <a:r>
              <a:rPr lang="zh-CN" altLang="en-US" dirty="0"/>
              <a:t>上取</a:t>
            </a:r>
            <a:endParaRPr lang="en-US" altLang="zh-CN" dirty="0"/>
          </a:p>
          <a:p>
            <a:r>
              <a:rPr lang="en-US" altLang="zh-CN" dirty="0"/>
              <a:t>12.</a:t>
            </a:r>
            <a:r>
              <a:rPr lang="zh-CN" altLang="en-US" dirty="0"/>
              <a:t>具有</a:t>
            </a:r>
            <a:r>
              <a:rPr lang="en-US" altLang="zh-CN" dirty="0"/>
              <a:t>n</a:t>
            </a:r>
            <a:r>
              <a:rPr lang="zh-CN" altLang="en-US" dirty="0"/>
              <a:t>个关键字的</a:t>
            </a:r>
            <a:r>
              <a:rPr lang="en-US" altLang="zh-CN" dirty="0"/>
              <a:t>m</a:t>
            </a:r>
            <a:r>
              <a:rPr lang="zh-CN" altLang="en-US" dirty="0"/>
              <a:t>阶</a:t>
            </a:r>
            <a:r>
              <a:rPr lang="en-US" altLang="zh-CN" dirty="0"/>
              <a:t>B</a:t>
            </a:r>
            <a:r>
              <a:rPr lang="zh-CN" altLang="en-US" dirty="0"/>
              <a:t>树有</a:t>
            </a:r>
            <a:r>
              <a:rPr lang="en-US" altLang="zh-CN" dirty="0"/>
              <a:t>n+1</a:t>
            </a:r>
            <a:r>
              <a:rPr lang="zh-CN" altLang="en-US" dirty="0"/>
              <a:t>个叶子节点</a:t>
            </a:r>
            <a:endParaRPr lang="en-US" altLang="zh-CN" dirty="0"/>
          </a:p>
          <a:p>
            <a:r>
              <a:rPr lang="en-US" altLang="zh-CN" dirty="0"/>
              <a:t>13.</a:t>
            </a:r>
            <a:r>
              <a:rPr lang="zh-CN" altLang="en-US" dirty="0"/>
              <a:t>高度为</a:t>
            </a:r>
            <a:r>
              <a:rPr lang="en-US" altLang="zh-CN" dirty="0"/>
              <a:t>5</a:t>
            </a:r>
            <a:r>
              <a:rPr lang="zh-CN" altLang="en-US" dirty="0"/>
              <a:t>的</a:t>
            </a:r>
            <a:r>
              <a:rPr lang="en-US" altLang="zh-CN" dirty="0"/>
              <a:t>3</a:t>
            </a:r>
            <a:r>
              <a:rPr lang="zh-CN" altLang="en-US" dirty="0"/>
              <a:t>阶</a:t>
            </a:r>
            <a:r>
              <a:rPr lang="en-US" altLang="zh-CN" dirty="0"/>
              <a:t>B</a:t>
            </a:r>
            <a:r>
              <a:rPr lang="zh-CN" altLang="en-US" dirty="0"/>
              <a:t>树至少有多少节点</a:t>
            </a:r>
            <a:r>
              <a:rPr lang="en-US" altLang="zh-CN" dirty="0"/>
              <a:t>?</a:t>
            </a:r>
            <a:r>
              <a:rPr lang="zh-CN" altLang="en-US" dirty="0"/>
              <a:t>至多有多少</a:t>
            </a:r>
            <a:r>
              <a:rPr lang="en-US" altLang="zh-CN" dirty="0"/>
              <a:t>?</a:t>
            </a:r>
          </a:p>
          <a:p>
            <a:r>
              <a:rPr lang="en-US" altLang="zh-CN" dirty="0"/>
              <a:t>14.N</a:t>
            </a:r>
            <a:r>
              <a:rPr lang="zh-CN" altLang="en-US" dirty="0"/>
              <a:t>个节点的二叉树用二叉链表表示</a:t>
            </a:r>
            <a:r>
              <a:rPr lang="en-US" altLang="zh-CN" dirty="0"/>
              <a:t>:</a:t>
            </a:r>
            <a:r>
              <a:rPr lang="zh-CN" altLang="en-US" dirty="0"/>
              <a:t>有</a:t>
            </a:r>
            <a:r>
              <a:rPr lang="en-US" altLang="zh-CN" dirty="0"/>
              <a:t>2n</a:t>
            </a:r>
            <a:r>
              <a:rPr lang="zh-CN" altLang="en-US" dirty="0"/>
              <a:t>个指针，其中有</a:t>
            </a:r>
            <a:r>
              <a:rPr lang="en-US" altLang="zh-CN" dirty="0"/>
              <a:t>n+1</a:t>
            </a:r>
            <a:r>
              <a:rPr lang="zh-CN" altLang="en-US" dirty="0"/>
              <a:t>个空指针，</a:t>
            </a:r>
            <a:endParaRPr lang="en-US" altLang="zh-CN" dirty="0"/>
          </a:p>
          <a:p>
            <a:r>
              <a:rPr lang="en-US" altLang="zh-CN" dirty="0"/>
              <a:t>	n-1</a:t>
            </a:r>
            <a:r>
              <a:rPr lang="zh-CN" altLang="en-US" dirty="0"/>
              <a:t>个非空指针</a:t>
            </a:r>
            <a:endParaRPr lang="en-US" altLang="zh-CN" dirty="0"/>
          </a:p>
          <a:p>
            <a:r>
              <a:rPr lang="en-US" altLang="zh-CN" dirty="0"/>
              <a:t>15.</a:t>
            </a:r>
          </a:p>
          <a:p>
            <a:r>
              <a:rPr lang="en-US" altLang="zh-CN" dirty="0"/>
              <a:t>	LL -&gt; R</a:t>
            </a:r>
          </a:p>
          <a:p>
            <a:r>
              <a:rPr lang="en-US" altLang="zh-CN" dirty="0"/>
              <a:t>	RR</a:t>
            </a:r>
            <a:r>
              <a:rPr lang="zh-CN" altLang="en-US" dirty="0"/>
              <a:t> </a:t>
            </a:r>
            <a:r>
              <a:rPr lang="en-US" altLang="zh-CN" dirty="0"/>
              <a:t>-&gt;</a:t>
            </a:r>
            <a:r>
              <a:rPr lang="zh-CN" altLang="en-US" dirty="0"/>
              <a:t> </a:t>
            </a:r>
            <a:r>
              <a:rPr lang="en-US" altLang="zh-CN" dirty="0"/>
              <a:t>L</a:t>
            </a:r>
          </a:p>
          <a:p>
            <a:r>
              <a:rPr lang="en-US" altLang="zh-CN" dirty="0"/>
              <a:t>	LR -&gt; LR</a:t>
            </a:r>
          </a:p>
          <a:p>
            <a:r>
              <a:rPr lang="en-US" altLang="zh-CN" dirty="0"/>
              <a:t>	RL - &gt; RL</a:t>
            </a:r>
          </a:p>
          <a:p>
            <a:r>
              <a:rPr lang="en-US" altLang="zh-CN" dirty="0"/>
              <a:t>16.</a:t>
            </a:r>
            <a:r>
              <a:rPr lang="zh-CN" altLang="en-US" dirty="0"/>
              <a:t>设</a:t>
            </a:r>
            <a:r>
              <a:rPr lang="en-US" altLang="zh-CN" dirty="0" err="1"/>
              <a:t>a,x,y</a:t>
            </a:r>
            <a:r>
              <a:rPr lang="zh-CN" altLang="en-US" dirty="0"/>
              <a:t>是二叉树</a:t>
            </a:r>
            <a:r>
              <a:rPr lang="en-US" altLang="zh-CN" dirty="0"/>
              <a:t>B</a:t>
            </a:r>
            <a:r>
              <a:rPr lang="zh-CN" altLang="en-US" dirty="0"/>
              <a:t>的三个节点，</a:t>
            </a:r>
            <a:r>
              <a:rPr lang="en-US" altLang="zh-CN" dirty="0"/>
              <a:t>x</a:t>
            </a:r>
            <a:r>
              <a:rPr lang="zh-CN" altLang="en-US" dirty="0"/>
              <a:t>是</a:t>
            </a:r>
            <a:r>
              <a:rPr lang="en-US" altLang="zh-CN" dirty="0"/>
              <a:t>a</a:t>
            </a:r>
            <a:r>
              <a:rPr lang="zh-CN" altLang="en-US" dirty="0"/>
              <a:t>的左孩子，</a:t>
            </a:r>
            <a:r>
              <a:rPr lang="en-US" altLang="zh-CN" dirty="0"/>
              <a:t>y</a:t>
            </a:r>
            <a:r>
              <a:rPr lang="zh-CN" altLang="en-US" dirty="0"/>
              <a:t>是</a:t>
            </a:r>
            <a:r>
              <a:rPr lang="en-US" altLang="zh-CN" dirty="0"/>
              <a:t>x</a:t>
            </a:r>
            <a:r>
              <a:rPr lang="zh-CN" altLang="en-US" dirty="0"/>
              <a:t>的右孩子，</a:t>
            </a:r>
            <a:r>
              <a:rPr lang="en-US" altLang="zh-CN" dirty="0"/>
              <a:t>T</a:t>
            </a:r>
            <a:r>
              <a:rPr lang="zh-CN" altLang="en-US" dirty="0"/>
              <a:t>是与</a:t>
            </a:r>
            <a:r>
              <a:rPr lang="en-US" altLang="zh-CN" dirty="0"/>
              <a:t>B</a:t>
            </a:r>
          </a:p>
          <a:p>
            <a:r>
              <a:rPr lang="zh-CN" altLang="en-US" dirty="0"/>
              <a:t>对应的树，在</a:t>
            </a:r>
            <a:r>
              <a:rPr lang="en-US" altLang="zh-CN" dirty="0"/>
              <a:t>T</a:t>
            </a:r>
            <a:r>
              <a:rPr lang="zh-CN" altLang="en-US" dirty="0"/>
              <a:t>中，</a:t>
            </a:r>
            <a:r>
              <a:rPr lang="en-US" altLang="zh-CN" dirty="0"/>
              <a:t>y</a:t>
            </a:r>
            <a:r>
              <a:rPr lang="zh-CN" altLang="en-US" dirty="0"/>
              <a:t>是</a:t>
            </a:r>
            <a:r>
              <a:rPr lang="en-US" altLang="zh-CN" dirty="0"/>
              <a:t>a</a:t>
            </a:r>
            <a:r>
              <a:rPr lang="zh-CN" altLang="en-US" dirty="0"/>
              <a:t>的是么？</a:t>
            </a:r>
            <a:endParaRPr lang="en-US" altLang="zh-CN" dirty="0"/>
          </a:p>
          <a:p>
            <a:r>
              <a:rPr lang="en-US" altLang="zh-CN" dirty="0"/>
              <a:t>17.K</a:t>
            </a:r>
            <a:r>
              <a:rPr lang="zh-CN" altLang="en-US" dirty="0"/>
              <a:t>路归并遍数，</a:t>
            </a:r>
            <a:r>
              <a:rPr lang="en-US" altLang="zh-CN" dirty="0" err="1"/>
              <a:t>logk</a:t>
            </a:r>
            <a:r>
              <a:rPr lang="en-US" altLang="zh-CN" dirty="0"/>
              <a:t>-&gt;m</a:t>
            </a:r>
          </a:p>
          <a:p>
            <a:r>
              <a:rPr lang="en-US" altLang="zh-CN" dirty="0"/>
              <a:t>18.1,2,3,4,5,6,7  3</a:t>
            </a:r>
            <a:r>
              <a:rPr lang="zh-CN" altLang="en-US" dirty="0"/>
              <a:t>路归并</a:t>
            </a:r>
            <a:r>
              <a:rPr lang="en-US" altLang="zh-CN" dirty="0"/>
              <a:t>(3</a:t>
            </a:r>
            <a:r>
              <a:rPr lang="zh-CN" altLang="en-US" dirty="0"/>
              <a:t>阶哈夫曼树</a:t>
            </a:r>
            <a:r>
              <a:rPr lang="en-US" altLang="zh-CN" dirty="0"/>
              <a:t>)</a:t>
            </a:r>
          </a:p>
          <a:p>
            <a:r>
              <a:rPr lang="en-US" altLang="zh-CN" dirty="0"/>
              <a:t>19.</a:t>
            </a:r>
            <a:r>
              <a:rPr lang="zh-CN" altLang="en-US" dirty="0"/>
              <a:t>深度为</a:t>
            </a:r>
            <a:r>
              <a:rPr lang="en-US" altLang="zh-CN" dirty="0"/>
              <a:t>k</a:t>
            </a:r>
            <a:r>
              <a:rPr lang="zh-CN" altLang="en-US" dirty="0"/>
              <a:t>的完全二叉树最少有</a:t>
            </a:r>
            <a:r>
              <a:rPr lang="en-US" altLang="zh-CN" dirty="0"/>
              <a:t>2^(k-1)-1 + 1 = 2^(k-1)</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22134FD-CD6C-445A-8B98-FCF7DC910FA2}"/>
              </a:ext>
            </a:extLst>
          </p:cNvPr>
          <p:cNvSpPr txBox="1"/>
          <p:nvPr/>
        </p:nvSpPr>
        <p:spPr>
          <a:xfrm>
            <a:off x="1043608" y="1340768"/>
            <a:ext cx="6968574" cy="923330"/>
          </a:xfrm>
          <a:prstGeom prst="rect">
            <a:avLst/>
          </a:prstGeom>
          <a:noFill/>
        </p:spPr>
        <p:txBody>
          <a:bodyPr wrap="none" rtlCol="0">
            <a:spAutoFit/>
          </a:bodyPr>
          <a:lstStyle/>
          <a:p>
            <a:r>
              <a:rPr lang="en-US" altLang="zh-CN" dirty="0"/>
              <a:t>20.</a:t>
            </a:r>
            <a:r>
              <a:rPr lang="zh-CN" altLang="en-US" dirty="0"/>
              <a:t>树的遍历方法与二叉树的对应关系</a:t>
            </a:r>
            <a:r>
              <a:rPr lang="en-US" altLang="zh-CN" dirty="0"/>
              <a:t>:</a:t>
            </a:r>
            <a:r>
              <a:rPr lang="zh-CN" altLang="en-US" dirty="0"/>
              <a:t>先跟</a:t>
            </a:r>
            <a:r>
              <a:rPr lang="en-US" altLang="zh-CN" dirty="0"/>
              <a:t>-&gt;</a:t>
            </a:r>
            <a:r>
              <a:rPr lang="zh-CN" altLang="en-US" dirty="0"/>
              <a:t>先序，后跟</a:t>
            </a:r>
            <a:r>
              <a:rPr lang="en-US" altLang="zh-CN" dirty="0"/>
              <a:t>-&gt;</a:t>
            </a:r>
            <a:r>
              <a:rPr lang="zh-CN" altLang="en-US" dirty="0"/>
              <a:t>中序</a:t>
            </a:r>
            <a:endParaRPr lang="en-US" altLang="zh-CN" dirty="0"/>
          </a:p>
          <a:p>
            <a:r>
              <a:rPr lang="en-US" altLang="zh-CN" dirty="0"/>
              <a:t>21.</a:t>
            </a:r>
            <a:r>
              <a:rPr lang="zh-CN" altLang="en-US" dirty="0"/>
              <a:t>对二叉树进行前中后序遍历，其叶子节点相对次序不会发生改变</a:t>
            </a:r>
            <a:endParaRPr lang="en-US" altLang="zh-CN" dirty="0"/>
          </a:p>
          <a:p>
            <a:r>
              <a:rPr lang="en-US" altLang="zh-CN" dirty="0"/>
              <a:t>22.</a:t>
            </a:r>
            <a:endParaRPr lang="zh-CN" altLang="en-US" dirty="0"/>
          </a:p>
        </p:txBody>
      </p:sp>
      <mc:AlternateContent xmlns:mc="http://schemas.openxmlformats.org/markup-compatibility/2006" xmlns:p14="http://schemas.microsoft.com/office/powerpoint/2010/main">
        <mc:Choice Requires="p14">
          <p:contentPart p14:bwMode="auto" r:id="rId2">
            <p14:nvContentPartPr>
              <p14:cNvPr id="3" name="墨迹 2">
                <a:extLst>
                  <a:ext uri="{FF2B5EF4-FFF2-40B4-BE49-F238E27FC236}">
                    <a16:creationId xmlns:a16="http://schemas.microsoft.com/office/drawing/2014/main" id="{9A547DD5-79CB-44FE-9982-71D119F003D0}"/>
                  </a:ext>
                </a:extLst>
              </p14:cNvPr>
              <p14:cNvContentPartPr/>
              <p14:nvPr/>
            </p14:nvContentPartPr>
            <p14:xfrm>
              <a:off x="837360" y="2310480"/>
              <a:ext cx="7126200" cy="3035160"/>
            </p14:xfrm>
          </p:contentPart>
        </mc:Choice>
        <mc:Fallback xmlns="">
          <p:pic>
            <p:nvPicPr>
              <p:cNvPr id="3" name="墨迹 2">
                <a:extLst>
                  <a:ext uri="{FF2B5EF4-FFF2-40B4-BE49-F238E27FC236}">
                    <a16:creationId xmlns:a16="http://schemas.microsoft.com/office/drawing/2014/main" id="{9A547DD5-79CB-44FE-9982-71D119F003D0}"/>
                  </a:ext>
                </a:extLst>
              </p:cNvPr>
              <p:cNvPicPr/>
              <p:nvPr/>
            </p:nvPicPr>
            <p:blipFill>
              <a:blip r:embed="rId3"/>
              <a:stretch>
                <a:fillRect/>
              </a:stretch>
            </p:blipFill>
            <p:spPr>
              <a:xfrm>
                <a:off x="828000" y="2301120"/>
                <a:ext cx="7144920" cy="3053880"/>
              </a:xfrm>
              <a:prstGeom prst="rect">
                <a:avLst/>
              </a:prstGeom>
            </p:spPr>
          </p:pic>
        </mc:Fallback>
      </mc:AlternateContent>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00E6FFC0-D2FD-4E5C-A4B1-708A83E594B4}"/>
              </a:ext>
            </a:extLst>
          </p:cNvPr>
          <p:cNvSpPr txBox="1"/>
          <p:nvPr/>
        </p:nvSpPr>
        <p:spPr>
          <a:xfrm>
            <a:off x="1187624" y="1268760"/>
            <a:ext cx="7879080" cy="923330"/>
          </a:xfrm>
          <a:prstGeom prst="rect">
            <a:avLst/>
          </a:prstGeom>
          <a:noFill/>
        </p:spPr>
        <p:txBody>
          <a:bodyPr wrap="none" rtlCol="0">
            <a:spAutoFit/>
          </a:bodyPr>
          <a:lstStyle/>
          <a:p>
            <a:r>
              <a:rPr lang="en-US" altLang="zh-CN" dirty="0"/>
              <a:t>23.</a:t>
            </a:r>
            <a:r>
              <a:rPr lang="zh-CN" altLang="en-US" dirty="0"/>
              <a:t>已知某字符串共有</a:t>
            </a:r>
            <a:r>
              <a:rPr lang="en-US" altLang="zh-CN" dirty="0"/>
              <a:t>8</a:t>
            </a:r>
            <a:r>
              <a:rPr lang="zh-CN" altLang="en-US" dirty="0"/>
              <a:t>种字符，每个字符出现的次数分别是</a:t>
            </a:r>
            <a:r>
              <a:rPr lang="en-US" altLang="zh-CN" dirty="0"/>
              <a:t>2,1,4,5,7,3,4,9</a:t>
            </a:r>
            <a:r>
              <a:rPr lang="zh-CN" altLang="en-US" dirty="0"/>
              <a:t>，</a:t>
            </a:r>
            <a:endParaRPr lang="en-US" altLang="zh-CN" dirty="0"/>
          </a:p>
          <a:p>
            <a:r>
              <a:rPr lang="zh-CN" altLang="en-US" dirty="0"/>
              <a:t>用字符串</a:t>
            </a:r>
            <a:r>
              <a:rPr lang="en-US" altLang="zh-CN" dirty="0"/>
              <a:t>{0,1}</a:t>
            </a:r>
            <a:r>
              <a:rPr lang="zh-CN" altLang="en-US" dirty="0"/>
              <a:t>进行前缀加密，问</a:t>
            </a:r>
            <a:r>
              <a:rPr lang="en-US" altLang="zh-CN" dirty="0"/>
              <a:t>:</a:t>
            </a:r>
            <a:r>
              <a:rPr lang="zh-CN" altLang="en-US" dirty="0"/>
              <a:t>该字符串的编码至少多少位</a:t>
            </a:r>
            <a:endParaRPr lang="en-US" altLang="zh-CN" dirty="0"/>
          </a:p>
          <a:p>
            <a:endParaRPr lang="zh-CN" altLang="en-US" dirty="0"/>
          </a:p>
        </p:txBody>
      </p:sp>
      <mc:AlternateContent xmlns:mc="http://schemas.openxmlformats.org/markup-compatibility/2006" xmlns:p14="http://schemas.microsoft.com/office/powerpoint/2010/main">
        <mc:Choice Requires="p14">
          <p:contentPart p14:bwMode="auto" r:id="rId2">
            <p14:nvContentPartPr>
              <p14:cNvPr id="3" name="墨迹 2">
                <a:extLst>
                  <a:ext uri="{FF2B5EF4-FFF2-40B4-BE49-F238E27FC236}">
                    <a16:creationId xmlns:a16="http://schemas.microsoft.com/office/drawing/2014/main" id="{493C8FB4-472A-427A-BD9E-16461B81513F}"/>
                  </a:ext>
                </a:extLst>
              </p14:cNvPr>
              <p14:cNvContentPartPr/>
              <p14:nvPr/>
            </p14:nvContentPartPr>
            <p14:xfrm>
              <a:off x="508320" y="1145520"/>
              <a:ext cx="8119440" cy="4802760"/>
            </p14:xfrm>
          </p:contentPart>
        </mc:Choice>
        <mc:Fallback xmlns="">
          <p:pic>
            <p:nvPicPr>
              <p:cNvPr id="3" name="墨迹 2">
                <a:extLst>
                  <a:ext uri="{FF2B5EF4-FFF2-40B4-BE49-F238E27FC236}">
                    <a16:creationId xmlns:a16="http://schemas.microsoft.com/office/drawing/2014/main" id="{493C8FB4-472A-427A-BD9E-16461B81513F}"/>
                  </a:ext>
                </a:extLst>
              </p:cNvPr>
              <p:cNvPicPr/>
              <p:nvPr/>
            </p:nvPicPr>
            <p:blipFill>
              <a:blip r:embed="rId3"/>
              <a:stretch>
                <a:fillRect/>
              </a:stretch>
            </p:blipFill>
            <p:spPr>
              <a:xfrm>
                <a:off x="498960" y="1136160"/>
                <a:ext cx="8138160" cy="4821480"/>
              </a:xfrm>
              <a:prstGeom prst="rect">
                <a:avLst/>
              </a:prstGeom>
            </p:spPr>
          </p:pic>
        </mc:Fallback>
      </mc:AlternateContent>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609EF07-4181-46DD-8197-260A484322D3}"/>
              </a:ext>
            </a:extLst>
          </p:cNvPr>
          <p:cNvSpPr txBox="1"/>
          <p:nvPr/>
        </p:nvSpPr>
        <p:spPr>
          <a:xfrm>
            <a:off x="1331640" y="1268760"/>
            <a:ext cx="7891904" cy="1754326"/>
          </a:xfrm>
          <a:prstGeom prst="rect">
            <a:avLst/>
          </a:prstGeom>
          <a:noFill/>
        </p:spPr>
        <p:txBody>
          <a:bodyPr wrap="none" rtlCol="0">
            <a:spAutoFit/>
          </a:bodyPr>
          <a:lstStyle/>
          <a:p>
            <a:r>
              <a:rPr lang="en-US" altLang="zh-CN" dirty="0"/>
              <a:t>23.</a:t>
            </a:r>
            <a:r>
              <a:rPr lang="zh-CN" altLang="en-US" dirty="0"/>
              <a:t>树形结构的定义是采用递归方式进行定义，因此又被称为递归数据结构</a:t>
            </a:r>
            <a:endParaRPr lang="en-US" altLang="zh-CN" dirty="0"/>
          </a:p>
          <a:p>
            <a:r>
              <a:rPr lang="en-US" altLang="zh-CN" dirty="0"/>
              <a:t>24.</a:t>
            </a:r>
            <a:r>
              <a:rPr lang="zh-CN" altLang="en-US" dirty="0"/>
              <a:t>堆满足从任一节点出发到根节点的路径上所经过的节点序列是按其关键字</a:t>
            </a:r>
            <a:endParaRPr lang="en-US" altLang="zh-CN" dirty="0"/>
          </a:p>
          <a:p>
            <a:r>
              <a:rPr lang="zh-CN" altLang="en-US" dirty="0"/>
              <a:t>有序的，而二叉搜索树不满足</a:t>
            </a:r>
            <a:endParaRPr lang="en-US" altLang="zh-CN" dirty="0"/>
          </a:p>
          <a:p>
            <a:r>
              <a:rPr lang="en-US" altLang="zh-CN" dirty="0"/>
              <a:t>25.</a:t>
            </a:r>
            <a:r>
              <a:rPr lang="zh-CN" altLang="en-US" dirty="0"/>
              <a:t>二叉平衡树的本质是二叉搜索树，所以不可以说完全二叉树是</a:t>
            </a:r>
            <a:endParaRPr lang="en-US" altLang="zh-CN" dirty="0"/>
          </a:p>
          <a:p>
            <a:r>
              <a:rPr lang="zh-CN" altLang="en-US" dirty="0"/>
              <a:t>平衡二叉树</a:t>
            </a:r>
            <a:endParaRPr lang="en-US" altLang="zh-CN" dirty="0"/>
          </a:p>
          <a:p>
            <a:r>
              <a:rPr lang="en-US" altLang="zh-CN" dirty="0"/>
              <a:t>26.M</a:t>
            </a:r>
            <a:r>
              <a:rPr lang="zh-CN" altLang="en-US" dirty="0"/>
              <a:t>阶</a:t>
            </a:r>
            <a:r>
              <a:rPr lang="en-US" altLang="zh-CN" dirty="0"/>
              <a:t>B</a:t>
            </a:r>
            <a:r>
              <a:rPr lang="zh-CN" altLang="en-US" dirty="0"/>
              <a:t>树是一颗</a:t>
            </a:r>
            <a:r>
              <a:rPr lang="en-US" altLang="zh-CN" dirty="0"/>
              <a:t>m</a:t>
            </a:r>
            <a:r>
              <a:rPr lang="zh-CN" altLang="en-US" dirty="0"/>
              <a:t>叉平衡搜索树</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暗香扑面">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Book"/>
        <a:ea typeface=""/>
        <a:cs typeface=""/>
        <a:font script="Jpan" typeface="HG創英角ｺﾞｼｯｸUB"/>
        <a:font script="Hang" typeface="맑은 고딕"/>
        <a:font script="Hans" typeface="黑体"/>
        <a:font script="Hant" typeface="新細明體"/>
        <a:font script="Arab" typeface="Arial"/>
        <a:font script="Hebr" typeface="Arial"/>
        <a:font script="Thai" typeface="Cordian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8</TotalTime>
  <Words>1827</Words>
  <Application>Microsoft Office PowerPoint</Application>
  <PresentationFormat>全屏显示(4:3)</PresentationFormat>
  <Paragraphs>159</Paragraphs>
  <Slides>24</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4</vt:i4>
      </vt:variant>
    </vt:vector>
  </HeadingPairs>
  <TitlesOfParts>
    <vt:vector size="34" baseType="lpstr">
      <vt:lpstr>黑体</vt:lpstr>
      <vt:lpstr>宋体</vt:lpstr>
      <vt:lpstr>微软雅黑</vt:lpstr>
      <vt:lpstr>幼圆</vt:lpstr>
      <vt:lpstr>Arial</vt:lpstr>
      <vt:lpstr>Calibri</vt:lpstr>
      <vt:lpstr>Times New Roman</vt:lpstr>
      <vt:lpstr>Wingdings</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kk</dc:creator>
  <cp:lastModifiedBy>Office365</cp:lastModifiedBy>
  <cp:revision>164</cp:revision>
  <dcterms:created xsi:type="dcterms:W3CDTF">2013-09-02T12:41:00Z</dcterms:created>
  <dcterms:modified xsi:type="dcterms:W3CDTF">2017-11-05T07: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260</vt:lpwstr>
  </property>
</Properties>
</file>